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29.xml" ContentType="application/vnd.openxmlformats-officedocument.presentationml.tags+xml"/>
  <Override PartName="/ppt/notesSlides/notesSlide1.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charts/chart1.xml" ContentType="application/vnd.openxmlformats-officedocument.drawingml.chart+xml"/>
  <Override PartName="/ppt/tags/tag176.xml" ContentType="application/vnd.openxmlformats-officedocument.presentationml.tags+xml"/>
  <Override PartName="/ppt/theme/themeOverride1.xml" ContentType="application/vnd.openxmlformats-officedocument.themeOverride+xml"/>
  <Override PartName="/ppt/tags/tag177.xml" ContentType="application/vnd.openxmlformats-officedocument.presentationml.tags+xml"/>
  <Override PartName="/ppt/theme/themeOverride2.xml" ContentType="application/vnd.openxmlformats-officedocument.themeOverride+xml"/>
  <Override PartName="/ppt/tags/tag178.xml" ContentType="application/vnd.openxmlformats-officedocument.presentationml.tags+xml"/>
  <Override PartName="/ppt/theme/themeOverride3.xml" ContentType="application/vnd.openxmlformats-officedocument.themeOverr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8" r:id="rId5"/>
    <p:sldMasterId id="2147483853" r:id="rId6"/>
    <p:sldMasterId id="2147483896" r:id="rId7"/>
    <p:sldMasterId id="2147483902" r:id="rId8"/>
  </p:sldMasterIdLst>
  <p:notesMasterIdLst>
    <p:notesMasterId r:id="rId22"/>
  </p:notesMasterIdLst>
  <p:handoutMasterIdLst>
    <p:handoutMasterId r:id="rId23"/>
  </p:handoutMasterIdLst>
  <p:sldIdLst>
    <p:sldId id="258" r:id="rId9"/>
    <p:sldId id="846" r:id="rId10"/>
    <p:sldId id="915" r:id="rId11"/>
    <p:sldId id="1497" r:id="rId12"/>
    <p:sldId id="1498" r:id="rId13"/>
    <p:sldId id="1495" r:id="rId14"/>
    <p:sldId id="862" r:id="rId15"/>
    <p:sldId id="1475" r:id="rId16"/>
    <p:sldId id="987" r:id="rId17"/>
    <p:sldId id="1476" r:id="rId18"/>
    <p:sldId id="1494" r:id="rId19"/>
    <p:sldId id="1496" r:id="rId20"/>
    <p:sldId id="770" r:id="rId21"/>
  </p:sldIdLst>
  <p:sldSz cx="12192000" cy="6858000"/>
  <p:notesSz cx="6797675" cy="9928225"/>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 userDrawn="1">
          <p15:clr>
            <a:srgbClr val="A4A3A4"/>
          </p15:clr>
        </p15:guide>
        <p15:guide id="2" orient="horz" pos="640" userDrawn="1">
          <p15:clr>
            <a:srgbClr val="A4A3A4"/>
          </p15:clr>
        </p15:guide>
        <p15:guide id="3" orient="horz" pos="1502" userDrawn="1">
          <p15:clr>
            <a:srgbClr val="A4A3A4"/>
          </p15:clr>
        </p15:guide>
        <p15:guide id="4" orient="horz" pos="1026" userDrawn="1">
          <p15:clr>
            <a:srgbClr val="A4A3A4"/>
          </p15:clr>
        </p15:guide>
        <p15:guide id="5" pos="38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zenauer Winnie" initials="MW"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4AE"/>
    <a:srgbClr val="E1E000"/>
    <a:srgbClr val="000000"/>
    <a:srgbClr val="E6E8F4"/>
    <a:srgbClr val="8595C5"/>
    <a:srgbClr val="1A7C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92" autoAdjust="0"/>
  </p:normalViewPr>
  <p:slideViewPr>
    <p:cSldViewPr snapToGrid="0" snapToObjects="1" showGuides="1">
      <p:cViewPr varScale="1">
        <p:scale>
          <a:sx n="82" d="100"/>
          <a:sy n="82" d="100"/>
        </p:scale>
        <p:origin x="643" y="72"/>
      </p:cViewPr>
      <p:guideLst>
        <p:guide orient="horz" pos="119"/>
        <p:guide orient="horz" pos="640"/>
        <p:guide orient="horz" pos="1502"/>
        <p:guide orient="horz" pos="1026"/>
        <p:guide pos="3840"/>
      </p:guideLst>
    </p:cSldViewPr>
  </p:slideViewPr>
  <p:notesTextViewPr>
    <p:cViewPr>
      <p:scale>
        <a:sx n="3" d="2"/>
        <a:sy n="3" d="2"/>
      </p:scale>
      <p:origin x="0" y="0"/>
    </p:cViewPr>
  </p:notesTextViewPr>
  <p:sorterViewPr>
    <p:cViewPr varScale="1">
      <p:scale>
        <a:sx n="1" d="1"/>
        <a:sy n="1" d="1"/>
      </p:scale>
      <p:origin x="0" y="-6426"/>
    </p:cViewPr>
  </p:sorterViewPr>
  <p:notesViewPr>
    <p:cSldViewPr snapToGrid="0" snapToObjects="1" showGuides="1">
      <p:cViewPr varScale="1">
        <p:scale>
          <a:sx n="74" d="100"/>
          <a:sy n="74" d="100"/>
        </p:scale>
        <p:origin x="3114" y="5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notesMaster" Target="notesMasters/notesMaster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87420042643924"/>
          <c:y val="0.11087420042643924"/>
          <c:w val="0.7782515991471215"/>
          <c:h val="0.7782515991471215"/>
        </c:manualLayout>
      </c:layout>
      <c:doughnutChart>
        <c:varyColors val="0"/>
        <c:ser>
          <c:idx val="0"/>
          <c:order val="0"/>
          <c:dPt>
            <c:idx val="0"/>
            <c:bubble3D val="0"/>
            <c:spPr>
              <a:solidFill>
                <a:schemeClr val="tx2"/>
              </a:solidFill>
              <a:ln w="6350" algn="ctr">
                <a:solidFill>
                  <a:schemeClr val="tx2"/>
                </a:solidFill>
                <a:prstDash val="solid"/>
              </a:ln>
            </c:spPr>
            <c:extLst>
              <c:ext xmlns:c16="http://schemas.microsoft.com/office/drawing/2014/chart" uri="{C3380CC4-5D6E-409C-BE32-E72D297353CC}">
                <c16:uniqueId val="{00000000-C3C5-48F4-9833-52BD229E3F17}"/>
              </c:ext>
            </c:extLst>
          </c:dPt>
          <c:dPt>
            <c:idx val="1"/>
            <c:bubble3D val="0"/>
            <c:spPr>
              <a:solidFill>
                <a:schemeClr val="bg2"/>
              </a:solidFill>
              <a:ln w="6350" algn="ctr">
                <a:solidFill>
                  <a:schemeClr val="tx2"/>
                </a:solidFill>
                <a:prstDash val="solid"/>
              </a:ln>
            </c:spPr>
            <c:extLst>
              <c:ext xmlns:c16="http://schemas.microsoft.com/office/drawing/2014/chart" uri="{C3380CC4-5D6E-409C-BE32-E72D297353CC}">
                <c16:uniqueId val="{00000001-C3C5-48F4-9833-52BD229E3F17}"/>
              </c:ext>
            </c:extLst>
          </c:dPt>
          <c:val>
            <c:numRef>
              <c:f>Sheet1!$A$1:$A$2</c:f>
              <c:numCache>
                <c:formatCode>General</c:formatCode>
                <c:ptCount val="2"/>
                <c:pt idx="0">
                  <c:v>51</c:v>
                </c:pt>
                <c:pt idx="1">
                  <c:v>49</c:v>
                </c:pt>
              </c:numCache>
            </c:numRef>
          </c:val>
          <c:extLst>
            <c:ext xmlns:c16="http://schemas.microsoft.com/office/drawing/2014/chart" uri="{C3380CC4-5D6E-409C-BE32-E72D297353CC}">
              <c16:uniqueId val="{00000002-C3C5-48F4-9833-52BD229E3F17}"/>
            </c:ext>
          </c:extLst>
        </c:ser>
        <c:dLbls>
          <c:showLegendKey val="0"/>
          <c:showVal val="0"/>
          <c:showCatName val="0"/>
          <c:showSerName val="0"/>
          <c:showPercent val="0"/>
          <c:showBubbleSize val="0"/>
          <c:showLeaderLines val="0"/>
        </c:dLbls>
        <c:firstSliceAng val="0"/>
        <c:holeSize val="70"/>
      </c:doughnut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6400"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1"/>
            <a:ext cx="2946400" cy="498475"/>
          </a:xfrm>
          <a:prstGeom prst="rect">
            <a:avLst/>
          </a:prstGeom>
        </p:spPr>
        <p:txBody>
          <a:bodyPr vert="horz" lIns="91440" tIns="45720" rIns="91440" bIns="45720" rtlCol="0"/>
          <a:lstStyle>
            <a:lvl1pPr algn="r">
              <a:defRPr sz="1200"/>
            </a:lvl1pPr>
          </a:lstStyle>
          <a:p>
            <a:fld id="{3527DB28-E196-484D-8643-90F5FC3016CC}" type="datetimeFigureOut">
              <a:rPr lang="de-DE" smtClean="0"/>
              <a:t>27.03.2024</a:t>
            </a:fld>
            <a:endParaRPr lang="de-DE"/>
          </a:p>
        </p:txBody>
      </p:sp>
      <p:sp>
        <p:nvSpPr>
          <p:cNvPr id="4" name="Fußzeilenplatzhalter 3"/>
          <p:cNvSpPr>
            <a:spLocks noGrp="1"/>
          </p:cNvSpPr>
          <p:nvPr>
            <p:ph type="ftr" sz="quarter" idx="2"/>
          </p:nvPr>
        </p:nvSpPr>
        <p:spPr>
          <a:xfrm>
            <a:off x="0" y="9429751"/>
            <a:ext cx="294640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9751"/>
            <a:ext cx="2946400" cy="498475"/>
          </a:xfrm>
          <a:prstGeom prst="rect">
            <a:avLst/>
          </a:prstGeom>
        </p:spPr>
        <p:txBody>
          <a:bodyPr vert="horz" lIns="91440" tIns="45720" rIns="91440" bIns="45720" rtlCol="0" anchor="b"/>
          <a:lstStyle>
            <a:lvl1pPr algn="r">
              <a:defRPr sz="1200"/>
            </a:lvl1pPr>
          </a:lstStyle>
          <a:p>
            <a:fld id="{2448908A-37D4-439D-959D-A91E49FB018A}" type="slidenum">
              <a:rPr lang="de-DE" smtClean="0"/>
              <a:t>‹Nr.›</a:t>
            </a:fld>
            <a:endParaRPr lang="de-DE"/>
          </a:p>
        </p:txBody>
      </p:sp>
    </p:spTree>
    <p:extLst>
      <p:ext uri="{BB962C8B-B14F-4D97-AF65-F5344CB8AC3E}">
        <p14:creationId xmlns:p14="http://schemas.microsoft.com/office/powerpoint/2010/main" val="15811336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5659" cy="496412"/>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50444" y="0"/>
            <a:ext cx="2945659" cy="496412"/>
          </a:xfrm>
          <a:prstGeom prst="rect">
            <a:avLst/>
          </a:prstGeom>
        </p:spPr>
        <p:txBody>
          <a:bodyPr vert="horz" lIns="91440" tIns="45720" rIns="91440" bIns="45720" rtlCol="0"/>
          <a:lstStyle>
            <a:lvl1pPr algn="r">
              <a:defRPr sz="1200"/>
            </a:lvl1pPr>
          </a:lstStyle>
          <a:p>
            <a:fld id="{7EC72149-50DC-414A-BE09-8FB8452C732B}" type="datetimeFigureOut">
              <a:rPr lang="de-AT" smtClean="0"/>
              <a:t>27.03.2024</a:t>
            </a:fld>
            <a:endParaRPr lang="de-AT"/>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79768" y="4715907"/>
            <a:ext cx="5438140" cy="4467702"/>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1" y="9430091"/>
            <a:ext cx="2945659" cy="496412"/>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50444" y="9430091"/>
            <a:ext cx="2945659" cy="496412"/>
          </a:xfrm>
          <a:prstGeom prst="rect">
            <a:avLst/>
          </a:prstGeom>
        </p:spPr>
        <p:txBody>
          <a:bodyPr vert="horz" lIns="91440" tIns="45720" rIns="91440" bIns="45720" rtlCol="0" anchor="b"/>
          <a:lstStyle>
            <a:lvl1pPr algn="r">
              <a:defRPr sz="1200"/>
            </a:lvl1pPr>
          </a:lstStyle>
          <a:p>
            <a:fld id="{DFFEE96D-53AE-482B-8B3A-8882549DA2CE}" type="slidenum">
              <a:rPr lang="de-AT" smtClean="0"/>
              <a:t>‹Nr.›</a:t>
            </a:fld>
            <a:endParaRPr lang="de-AT"/>
          </a:p>
        </p:txBody>
      </p:sp>
    </p:spTree>
    <p:extLst>
      <p:ext uri="{BB962C8B-B14F-4D97-AF65-F5344CB8AC3E}">
        <p14:creationId xmlns:p14="http://schemas.microsoft.com/office/powerpoint/2010/main" val="187027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algn="l" rtl="0"/>
            <a:fld id="{DFFEE96D-53AE-482B-8B3A-8882549DA2CE}" type="slidenum">
              <a:rPr/>
              <a:t>1</a:t>
            </a:fld>
            <a:endParaRPr lang="en-gb"/>
          </a:p>
        </p:txBody>
      </p:sp>
    </p:spTree>
    <p:extLst>
      <p:ext uri="{BB962C8B-B14F-4D97-AF65-F5344CB8AC3E}">
        <p14:creationId xmlns:p14="http://schemas.microsoft.com/office/powerpoint/2010/main" val="2832888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algn="l" rtl="0"/>
            <a:fld id="{DFFEE96D-53AE-482B-8B3A-8882549DA2CE}" type="slidenum">
              <a:rPr/>
              <a:t>13</a:t>
            </a:fld>
            <a:endParaRPr lang="en-gb"/>
          </a:p>
        </p:txBody>
      </p:sp>
    </p:spTree>
    <p:extLst>
      <p:ext uri="{BB962C8B-B14F-4D97-AF65-F5344CB8AC3E}">
        <p14:creationId xmlns:p14="http://schemas.microsoft.com/office/powerpoint/2010/main" val="13039898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7.sv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2.bin"/><Relationship Id="rId9" Type="http://schemas.openxmlformats.org/officeDocument/2006/relationships/image" Target="../media/image5.svg"/></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56.xml"/><Relationship Id="rId7"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9"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93.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94.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95.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96.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98.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99.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100.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111.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sv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sv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3.xml"/><Relationship Id="rId7" Type="http://schemas.openxmlformats.org/officeDocument/2006/relationships/image" Target="../media/image18.sv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8.bin"/><Relationship Id="rId9" Type="http://schemas.openxmlformats.org/officeDocument/2006/relationships/image" Target="../media/image17.sv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4.xml"/><Relationship Id="rId7" Type="http://schemas.openxmlformats.org/officeDocument/2006/relationships/image" Target="../media/image18.sv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0.bin"/><Relationship Id="rId9" Type="http://schemas.openxmlformats.org/officeDocument/2006/relationships/image" Target="../media/image17.svg"/></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4.xml"/><Relationship Id="rId1" Type="http://schemas.openxmlformats.org/officeDocument/2006/relationships/tags" Target="../tags/tag125.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4.xml"/><Relationship Id="rId1" Type="http://schemas.openxmlformats.org/officeDocument/2006/relationships/tags" Target="../tags/tag126.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4.xml"/><Relationship Id="rId1" Type="http://schemas.openxmlformats.org/officeDocument/2006/relationships/tags" Target="../tags/tag127.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12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_gr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415482537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D1D97A-3D5C-4EAA-B0B9-D44F4667D4F5}"/>
              </a:ext>
            </a:extLst>
          </p:cNvPr>
          <p:cNvSpPr/>
          <p:nvPr userDrawn="1"/>
        </p:nvSpPr>
        <p:spPr bwMode="auto">
          <a:xfrm>
            <a:off x="196982" y="188913"/>
            <a:ext cx="11798036"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4" name="Textplatzhalter 3"/>
          <p:cNvSpPr>
            <a:spLocks noGrp="1"/>
          </p:cNvSpPr>
          <p:nvPr>
            <p:ph type="body" sz="quarter" idx="10" hasCustomPrompt="1"/>
          </p:nvPr>
        </p:nvSpPr>
        <p:spPr>
          <a:xfrm>
            <a:off x="374650" y="2409247"/>
            <a:ext cx="4540250" cy="600164"/>
          </a:xfrm>
        </p:spPr>
        <p:txBody>
          <a:bodyPr lIns="0" tIns="0" rIns="0" bIns="0"/>
          <a:lstStyle>
            <a:lvl1pPr algn="r">
              <a:defRPr sz="1300">
                <a:solidFill>
                  <a:schemeClr val="tx1"/>
                </a:solidFill>
              </a:defRPr>
            </a:lvl1pPr>
          </a:lstStyle>
          <a:p>
            <a:pPr lvl="0"/>
            <a:r>
              <a:rPr lang="de-DE" dirty="0"/>
              <a:t>Verfasser</a:t>
            </a:r>
            <a:br>
              <a:rPr lang="de-DE" dirty="0"/>
            </a:br>
            <a:r>
              <a:rPr lang="de-DE" dirty="0"/>
              <a:t>Ort</a:t>
            </a:r>
            <a:br>
              <a:rPr lang="de-DE" dirty="0"/>
            </a:br>
            <a:r>
              <a:rPr lang="de-DE" dirty="0"/>
              <a:t>TT. Monat JJJJ</a:t>
            </a:r>
            <a:endParaRPr lang="de-AT" dirty="0"/>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094" y="6279356"/>
            <a:ext cx="1038599" cy="212725"/>
          </a:xfrm>
          <a:prstGeom prst="rect">
            <a:avLst/>
          </a:prstGeom>
        </p:spPr>
      </p:pic>
      <p:sp>
        <p:nvSpPr>
          <p:cNvPr id="13" name="Titel 12">
            <a:extLst>
              <a:ext uri="{FF2B5EF4-FFF2-40B4-BE49-F238E27FC236}">
                <a16:creationId xmlns:a16="http://schemas.microsoft.com/office/drawing/2014/main" id="{4F2045EF-14A1-4BAB-BE0B-8C5C717DFDF1}"/>
              </a:ext>
            </a:extLst>
          </p:cNvPr>
          <p:cNvSpPr>
            <a:spLocks noGrp="1"/>
          </p:cNvSpPr>
          <p:nvPr>
            <p:ph type="title"/>
          </p:nvPr>
        </p:nvSpPr>
        <p:spPr>
          <a:xfrm>
            <a:off x="196982" y="188913"/>
            <a:ext cx="4717918" cy="706311"/>
          </a:xfrm>
        </p:spPr>
        <p:txBody>
          <a:bodyPr vert="horz" rIns="0">
            <a:spAutoFit/>
          </a:bodyPr>
          <a:lstStyle/>
          <a:p>
            <a:r>
              <a:rPr lang="de-DE"/>
              <a:t>Mastertitelformat bearbeiten</a:t>
            </a:r>
            <a:endParaRPr lang="en-US" dirty="0"/>
          </a:p>
        </p:txBody>
      </p:sp>
      <p:sp>
        <p:nvSpPr>
          <p:cNvPr id="3" name="Foliennummernplatzhalter 2">
            <a:extLst>
              <a:ext uri="{FF2B5EF4-FFF2-40B4-BE49-F238E27FC236}">
                <a16:creationId xmlns:a16="http://schemas.microsoft.com/office/drawing/2014/main" id="{02B30A93-D846-4328-8F0A-181869020F72}"/>
              </a:ext>
            </a:extLst>
          </p:cNvPr>
          <p:cNvSpPr>
            <a:spLocks noGrp="1"/>
          </p:cNvSpPr>
          <p:nvPr>
            <p:ph type="sldNum" sz="quarter" idx="11"/>
          </p:nvPr>
        </p:nvSpPr>
        <p:spPr/>
        <p:txBody>
          <a:body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37003118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 5">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20168160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362930E0-90F7-4364-AFB4-5FFEC4569418}"/>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a:extLst>
              <a:ext uri="{FF2B5EF4-FFF2-40B4-BE49-F238E27FC236}">
                <a16:creationId xmlns:a16="http://schemas.microsoft.com/office/drawing/2014/main" id="{C7408156-BB44-4271-B919-E11C0F946EC6}"/>
              </a:ext>
            </a:extLst>
          </p:cNvPr>
          <p:cNvSpPr/>
          <p:nvPr userDrawn="1"/>
        </p:nvSpPr>
        <p:spPr bwMode="auto">
          <a:xfrm>
            <a:off x="6186486" y="188913"/>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1" name="Textplatzhalter 15">
            <a:extLst>
              <a:ext uri="{FF2B5EF4-FFF2-40B4-BE49-F238E27FC236}">
                <a16:creationId xmlns:a16="http://schemas.microsoft.com/office/drawing/2014/main" id="{95660CA6-9E81-4ADA-8DF4-02AD8854C80B}"/>
              </a:ext>
            </a:extLst>
          </p:cNvPr>
          <p:cNvSpPr>
            <a:spLocks noGrp="1"/>
          </p:cNvSpPr>
          <p:nvPr>
            <p:ph type="body" sz="quarter" idx="18"/>
          </p:nvPr>
        </p:nvSpPr>
        <p:spPr>
          <a:xfrm>
            <a:off x="6186486" y="188913"/>
            <a:ext cx="5824719"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2" name="Rechteck 21">
            <a:extLst>
              <a:ext uri="{FF2B5EF4-FFF2-40B4-BE49-F238E27FC236}">
                <a16:creationId xmlns:a16="http://schemas.microsoft.com/office/drawing/2014/main" id="{495F8B57-3F00-4EF9-B3F6-D2A795DA82FA}"/>
              </a:ext>
            </a:extLst>
          </p:cNvPr>
          <p:cNvSpPr/>
          <p:nvPr userDrawn="1"/>
        </p:nvSpPr>
        <p:spPr bwMode="auto">
          <a:xfrm>
            <a:off x="6186486" y="2408972"/>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Rechteck 22">
            <a:extLst>
              <a:ext uri="{FF2B5EF4-FFF2-40B4-BE49-F238E27FC236}">
                <a16:creationId xmlns:a16="http://schemas.microsoft.com/office/drawing/2014/main" id="{27025C38-A54C-4E3F-B5C7-CDD338059FAA}"/>
              </a:ext>
            </a:extLst>
          </p:cNvPr>
          <p:cNvSpPr/>
          <p:nvPr userDrawn="1"/>
        </p:nvSpPr>
        <p:spPr bwMode="auto">
          <a:xfrm>
            <a:off x="6186486" y="4629031"/>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4" name="Textplatzhalter 15">
            <a:extLst>
              <a:ext uri="{FF2B5EF4-FFF2-40B4-BE49-F238E27FC236}">
                <a16:creationId xmlns:a16="http://schemas.microsoft.com/office/drawing/2014/main" id="{A6511BCC-F99B-4C98-A4E9-BD2979B9EC56}"/>
              </a:ext>
            </a:extLst>
          </p:cNvPr>
          <p:cNvSpPr>
            <a:spLocks noGrp="1"/>
          </p:cNvSpPr>
          <p:nvPr>
            <p:ph type="body" sz="quarter" idx="19"/>
          </p:nvPr>
        </p:nvSpPr>
        <p:spPr>
          <a:xfrm>
            <a:off x="6186486" y="2408972"/>
            <a:ext cx="5824719"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5" name="Textplatzhalter 15">
            <a:extLst>
              <a:ext uri="{FF2B5EF4-FFF2-40B4-BE49-F238E27FC236}">
                <a16:creationId xmlns:a16="http://schemas.microsoft.com/office/drawing/2014/main" id="{EB737C19-0E8D-465A-BF8E-121C51A05727}"/>
              </a:ext>
            </a:extLst>
          </p:cNvPr>
          <p:cNvSpPr>
            <a:spLocks noGrp="1"/>
          </p:cNvSpPr>
          <p:nvPr>
            <p:ph type="body" sz="quarter" idx="20"/>
          </p:nvPr>
        </p:nvSpPr>
        <p:spPr>
          <a:xfrm>
            <a:off x="6186486" y="4629031"/>
            <a:ext cx="5824719"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08531" cy="706311"/>
          </a:xfrm>
          <a:noFill/>
        </p:spPr>
        <p:txBody>
          <a:bodyPr vert="horz">
            <a:spAutoFit/>
          </a:bodyPr>
          <a:lstStyle/>
          <a:p>
            <a:r>
              <a:rPr lang="de-DE"/>
              <a:t>Mastertitelformat bearbeiten</a:t>
            </a:r>
            <a:endParaRPr lang="en-US" dirty="0"/>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335217412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Inhalt 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70299496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7" name="Rechteck 16">
            <a:extLst>
              <a:ext uri="{FF2B5EF4-FFF2-40B4-BE49-F238E27FC236}">
                <a16:creationId xmlns:a16="http://schemas.microsoft.com/office/drawing/2014/main" id="{AB379A0C-E08B-42D3-AA00-782A97784C34}"/>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a:extLst>
              <a:ext uri="{FF2B5EF4-FFF2-40B4-BE49-F238E27FC236}">
                <a16:creationId xmlns:a16="http://schemas.microsoft.com/office/drawing/2014/main" id="{C7408156-BB44-4271-B919-E11C0F946EC6}"/>
              </a:ext>
            </a:extLst>
          </p:cNvPr>
          <p:cNvSpPr/>
          <p:nvPr userDrawn="1"/>
        </p:nvSpPr>
        <p:spPr bwMode="auto">
          <a:xfrm>
            <a:off x="6186486" y="188912"/>
            <a:ext cx="5824719" cy="426011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Rechteck 22">
            <a:extLst>
              <a:ext uri="{FF2B5EF4-FFF2-40B4-BE49-F238E27FC236}">
                <a16:creationId xmlns:a16="http://schemas.microsoft.com/office/drawing/2014/main" id="{27025C38-A54C-4E3F-B5C7-CDD338059FAA}"/>
              </a:ext>
            </a:extLst>
          </p:cNvPr>
          <p:cNvSpPr/>
          <p:nvPr userDrawn="1"/>
        </p:nvSpPr>
        <p:spPr bwMode="auto">
          <a:xfrm>
            <a:off x="6186486" y="4629031"/>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08531" cy="706311"/>
          </a:xfrm>
          <a:noFill/>
        </p:spPr>
        <p:txBody>
          <a:bodyPr vert="horz">
            <a:spAutoFit/>
          </a:bodyPr>
          <a:lstStyle/>
          <a:p>
            <a:r>
              <a:rPr lang="de-DE"/>
              <a:t>Mastertitelformat bearbeiten</a:t>
            </a:r>
            <a:endParaRPr lang="en-US" dirty="0"/>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EA425527-4CF5-4FFA-842A-39E4FE804FEC}"/>
              </a:ext>
            </a:extLst>
          </p:cNvPr>
          <p:cNvSpPr>
            <a:spLocks noGrp="1"/>
          </p:cNvSpPr>
          <p:nvPr>
            <p:ph type="body" sz="quarter" idx="17"/>
          </p:nvPr>
        </p:nvSpPr>
        <p:spPr>
          <a:xfrm>
            <a:off x="6189662" y="188913"/>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Textplatzhalter 15">
            <a:extLst>
              <a:ext uri="{FF2B5EF4-FFF2-40B4-BE49-F238E27FC236}">
                <a16:creationId xmlns:a16="http://schemas.microsoft.com/office/drawing/2014/main" id="{5B923FD0-1AC9-4384-BA02-A5E4187D61C2}"/>
              </a:ext>
            </a:extLst>
          </p:cNvPr>
          <p:cNvSpPr>
            <a:spLocks noGrp="1"/>
          </p:cNvSpPr>
          <p:nvPr>
            <p:ph type="body" sz="quarter" idx="19"/>
          </p:nvPr>
        </p:nvSpPr>
        <p:spPr>
          <a:xfrm>
            <a:off x="6189662" y="4629031"/>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718211961"/>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Inhalt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7535073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Titel 1">
            <a:extLst>
              <a:ext uri="{FF2B5EF4-FFF2-40B4-BE49-F238E27FC236}">
                <a16:creationId xmlns:a16="http://schemas.microsoft.com/office/drawing/2014/main" id="{7ABA0813-C6DA-4BBB-B135-8A2D007CC42A}"/>
              </a:ext>
            </a:extLst>
          </p:cNvPr>
          <p:cNvSpPr>
            <a:spLocks noGrp="1"/>
          </p:cNvSpPr>
          <p:nvPr>
            <p:ph type="title"/>
          </p:nvPr>
        </p:nvSpPr>
        <p:spPr>
          <a:xfrm>
            <a:off x="196982" y="188912"/>
            <a:ext cx="5817113" cy="2040058"/>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a:t>Mastertitelformat bearbeiten</a:t>
            </a:r>
            <a:endParaRPr lang="en-US" dirty="0"/>
          </a:p>
        </p:txBody>
      </p:sp>
      <p:sp>
        <p:nvSpPr>
          <p:cNvPr id="17" name="Rechteck 16">
            <a:extLst>
              <a:ext uri="{FF2B5EF4-FFF2-40B4-BE49-F238E27FC236}">
                <a16:creationId xmlns:a16="http://schemas.microsoft.com/office/drawing/2014/main" id="{20488804-B457-47B7-A765-ECC90F5618A8}"/>
              </a:ext>
            </a:extLst>
          </p:cNvPr>
          <p:cNvSpPr/>
          <p:nvPr userDrawn="1"/>
        </p:nvSpPr>
        <p:spPr bwMode="auto">
          <a:xfrm>
            <a:off x="196982" y="2408972"/>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8" name="Rechteck 17">
            <a:extLst>
              <a:ext uri="{FF2B5EF4-FFF2-40B4-BE49-F238E27FC236}">
                <a16:creationId xmlns:a16="http://schemas.microsoft.com/office/drawing/2014/main" id="{DAE8FE6E-6DC9-4184-BD8A-52865D7C9CAF}"/>
              </a:ext>
            </a:extLst>
          </p:cNvPr>
          <p:cNvSpPr/>
          <p:nvPr userDrawn="1"/>
        </p:nvSpPr>
        <p:spPr bwMode="auto">
          <a:xfrm>
            <a:off x="196982" y="4629031"/>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a:extLst>
              <a:ext uri="{FF2B5EF4-FFF2-40B4-BE49-F238E27FC236}">
                <a16:creationId xmlns:a16="http://schemas.microsoft.com/office/drawing/2014/main" id="{C7408156-BB44-4271-B919-E11C0F946EC6}"/>
              </a:ext>
            </a:extLst>
          </p:cNvPr>
          <p:cNvSpPr/>
          <p:nvPr userDrawn="1"/>
        </p:nvSpPr>
        <p:spPr bwMode="auto">
          <a:xfrm>
            <a:off x="6186486" y="188913"/>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2" name="Rechteck 21">
            <a:extLst>
              <a:ext uri="{FF2B5EF4-FFF2-40B4-BE49-F238E27FC236}">
                <a16:creationId xmlns:a16="http://schemas.microsoft.com/office/drawing/2014/main" id="{495F8B57-3F00-4EF9-B3F6-D2A795DA82FA}"/>
              </a:ext>
            </a:extLst>
          </p:cNvPr>
          <p:cNvSpPr/>
          <p:nvPr userDrawn="1"/>
        </p:nvSpPr>
        <p:spPr bwMode="auto">
          <a:xfrm>
            <a:off x="6186486" y="2408972"/>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Rechteck 22">
            <a:extLst>
              <a:ext uri="{FF2B5EF4-FFF2-40B4-BE49-F238E27FC236}">
                <a16:creationId xmlns:a16="http://schemas.microsoft.com/office/drawing/2014/main" id="{27025C38-A54C-4E3F-B5C7-CDD338059FAA}"/>
              </a:ext>
            </a:extLst>
          </p:cNvPr>
          <p:cNvSpPr/>
          <p:nvPr userDrawn="1"/>
        </p:nvSpPr>
        <p:spPr bwMode="auto">
          <a:xfrm>
            <a:off x="6186486" y="4629031"/>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9" name="Textplatzhalter 15">
            <a:extLst>
              <a:ext uri="{FF2B5EF4-FFF2-40B4-BE49-F238E27FC236}">
                <a16:creationId xmlns:a16="http://schemas.microsoft.com/office/drawing/2014/main" id="{AC0F71CF-C0E6-4FC8-8AFA-08DD407D7981}"/>
              </a:ext>
            </a:extLst>
          </p:cNvPr>
          <p:cNvSpPr>
            <a:spLocks noGrp="1"/>
          </p:cNvSpPr>
          <p:nvPr>
            <p:ph type="body" sz="quarter" idx="17"/>
          </p:nvPr>
        </p:nvSpPr>
        <p:spPr>
          <a:xfrm>
            <a:off x="6189662" y="188913"/>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6" name="Textplatzhalter 15">
            <a:extLst>
              <a:ext uri="{FF2B5EF4-FFF2-40B4-BE49-F238E27FC236}">
                <a16:creationId xmlns:a16="http://schemas.microsoft.com/office/drawing/2014/main" id="{D77FA1A5-0A2D-474D-AD46-50540585AA9F}"/>
              </a:ext>
            </a:extLst>
          </p:cNvPr>
          <p:cNvSpPr>
            <a:spLocks noGrp="1"/>
          </p:cNvSpPr>
          <p:nvPr>
            <p:ph type="body" sz="quarter" idx="18"/>
          </p:nvPr>
        </p:nvSpPr>
        <p:spPr>
          <a:xfrm>
            <a:off x="6189662" y="2408972"/>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7" name="Textplatzhalter 15">
            <a:extLst>
              <a:ext uri="{FF2B5EF4-FFF2-40B4-BE49-F238E27FC236}">
                <a16:creationId xmlns:a16="http://schemas.microsoft.com/office/drawing/2014/main" id="{41684DF9-F370-48A3-AD61-F868602BDAD7}"/>
              </a:ext>
            </a:extLst>
          </p:cNvPr>
          <p:cNvSpPr>
            <a:spLocks noGrp="1"/>
          </p:cNvSpPr>
          <p:nvPr>
            <p:ph type="body" sz="quarter" idx="19"/>
          </p:nvPr>
        </p:nvSpPr>
        <p:spPr>
          <a:xfrm>
            <a:off x="6189662" y="4629031"/>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8" name="Textplatzhalter 15">
            <a:extLst>
              <a:ext uri="{FF2B5EF4-FFF2-40B4-BE49-F238E27FC236}">
                <a16:creationId xmlns:a16="http://schemas.microsoft.com/office/drawing/2014/main" id="{0F631C0F-A7A0-4D7A-9918-3121D774D222}"/>
              </a:ext>
            </a:extLst>
          </p:cNvPr>
          <p:cNvSpPr>
            <a:spLocks noGrp="1"/>
          </p:cNvSpPr>
          <p:nvPr>
            <p:ph type="body" sz="quarter" idx="20"/>
          </p:nvPr>
        </p:nvSpPr>
        <p:spPr>
          <a:xfrm>
            <a:off x="196982" y="2408972"/>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9" name="Textplatzhalter 15">
            <a:extLst>
              <a:ext uri="{FF2B5EF4-FFF2-40B4-BE49-F238E27FC236}">
                <a16:creationId xmlns:a16="http://schemas.microsoft.com/office/drawing/2014/main" id="{2E88B389-3C07-4EE3-A6EE-7EFB2FF9AE35}"/>
              </a:ext>
            </a:extLst>
          </p:cNvPr>
          <p:cNvSpPr>
            <a:spLocks noGrp="1"/>
          </p:cNvSpPr>
          <p:nvPr>
            <p:ph type="body" sz="quarter" idx="21"/>
          </p:nvPr>
        </p:nvSpPr>
        <p:spPr>
          <a:xfrm>
            <a:off x="196982" y="4629031"/>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89992400"/>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Inhalt 8">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799548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8" name="Rechteck 17">
            <a:extLst>
              <a:ext uri="{FF2B5EF4-FFF2-40B4-BE49-F238E27FC236}">
                <a16:creationId xmlns:a16="http://schemas.microsoft.com/office/drawing/2014/main" id="{8E68C8D1-8E14-4EDA-85B1-0899E89274DA}"/>
              </a:ext>
            </a:extLst>
          </p:cNvPr>
          <p:cNvSpPr/>
          <p:nvPr userDrawn="1"/>
        </p:nvSpPr>
        <p:spPr bwMode="auto">
          <a:xfrm>
            <a:off x="196981" y="188913"/>
            <a:ext cx="7816148"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9" cy="706311"/>
          </a:xfrm>
          <a:noFill/>
        </p:spPr>
        <p:txBody>
          <a:bodyPr vert="horz">
            <a:spAutoFit/>
          </a:bodyPr>
          <a:lstStyle/>
          <a:p>
            <a:r>
              <a:rPr lang="de-DE"/>
              <a:t>Mastertitelformat bearbeiten</a:t>
            </a:r>
            <a:endParaRPr lang="en-US"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8193129" y="188913"/>
            <a:ext cx="3801887"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594D168F-2ACC-4882-9C8A-3078B6DD104D}"/>
              </a:ext>
            </a:extLst>
          </p:cNvPr>
          <p:cNvSpPr>
            <a:spLocks noGrp="1"/>
          </p:cNvSpPr>
          <p:nvPr>
            <p:ph type="body" sz="quarter" idx="17"/>
          </p:nvPr>
        </p:nvSpPr>
        <p:spPr>
          <a:xfrm>
            <a:off x="8193129" y="188913"/>
            <a:ext cx="3805063"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0384823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el und Inhalt 8">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0720687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526483D8-975E-4742-9D2D-D7B43E93E5AC}"/>
              </a:ext>
            </a:extLst>
          </p:cNvPr>
          <p:cNvSpPr/>
          <p:nvPr userDrawn="1"/>
        </p:nvSpPr>
        <p:spPr bwMode="auto">
          <a:xfrm>
            <a:off x="8193129" y="3519000"/>
            <a:ext cx="380188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8" name="Rechteck 17">
            <a:extLst>
              <a:ext uri="{FF2B5EF4-FFF2-40B4-BE49-F238E27FC236}">
                <a16:creationId xmlns:a16="http://schemas.microsoft.com/office/drawing/2014/main" id="{8E68C8D1-8E14-4EDA-85B1-0899E89274DA}"/>
              </a:ext>
            </a:extLst>
          </p:cNvPr>
          <p:cNvSpPr/>
          <p:nvPr userDrawn="1"/>
        </p:nvSpPr>
        <p:spPr bwMode="auto">
          <a:xfrm>
            <a:off x="196981" y="188913"/>
            <a:ext cx="7816148"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9" cy="706311"/>
          </a:xfrm>
          <a:noFill/>
        </p:spPr>
        <p:txBody>
          <a:bodyPr vert="horz">
            <a:spAutoFit/>
          </a:bodyPr>
          <a:lstStyle/>
          <a:p>
            <a:r>
              <a:rPr lang="de-DE"/>
              <a:t>Mastertitelformat bearbeiten</a:t>
            </a:r>
            <a:endParaRPr lang="en-US"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8193129" y="188913"/>
            <a:ext cx="380188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594D168F-2ACC-4882-9C8A-3078B6DD104D}"/>
              </a:ext>
            </a:extLst>
          </p:cNvPr>
          <p:cNvSpPr>
            <a:spLocks noGrp="1"/>
          </p:cNvSpPr>
          <p:nvPr>
            <p:ph type="body" sz="quarter" idx="17"/>
          </p:nvPr>
        </p:nvSpPr>
        <p:spPr>
          <a:xfrm>
            <a:off x="8193129" y="188913"/>
            <a:ext cx="3805063"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platzhalter 15">
            <a:extLst>
              <a:ext uri="{FF2B5EF4-FFF2-40B4-BE49-F238E27FC236}">
                <a16:creationId xmlns:a16="http://schemas.microsoft.com/office/drawing/2014/main" id="{DCAEEF60-BB60-4BC0-AF0D-DB906624A050}"/>
              </a:ext>
            </a:extLst>
          </p:cNvPr>
          <p:cNvSpPr>
            <a:spLocks noGrp="1"/>
          </p:cNvSpPr>
          <p:nvPr>
            <p:ph type="body" sz="quarter" idx="18"/>
          </p:nvPr>
        </p:nvSpPr>
        <p:spPr>
          <a:xfrm>
            <a:off x="8193129" y="3519000"/>
            <a:ext cx="3805063"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4080094057"/>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9">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4828944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2" name="Rechteck 31">
            <a:extLst>
              <a:ext uri="{FF2B5EF4-FFF2-40B4-BE49-F238E27FC236}">
                <a16:creationId xmlns:a16="http://schemas.microsoft.com/office/drawing/2014/main" id="{57B8B345-5041-4C96-AF53-2790902268E1}"/>
              </a:ext>
            </a:extLst>
          </p:cNvPr>
          <p:cNvSpPr/>
          <p:nvPr userDrawn="1"/>
        </p:nvSpPr>
        <p:spPr bwMode="auto">
          <a:xfrm>
            <a:off x="6194094"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6194094"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5" name="Rechteck 34">
            <a:extLst>
              <a:ext uri="{FF2B5EF4-FFF2-40B4-BE49-F238E27FC236}">
                <a16:creationId xmlns:a16="http://schemas.microsoft.com/office/drawing/2014/main" id="{7DC4D833-2543-4229-B40B-46B52933D7C0}"/>
              </a:ext>
            </a:extLst>
          </p:cNvPr>
          <p:cNvSpPr/>
          <p:nvPr userDrawn="1"/>
        </p:nvSpPr>
        <p:spPr bwMode="auto">
          <a:xfrm>
            <a:off x="196980" y="3519000"/>
            <a:ext cx="5817114" cy="3150088"/>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17113" cy="315008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a:t>Mastertitelformat bearbeiten</a:t>
            </a: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9192648"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9192648"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29" name="Textplatzhalter 15">
            <a:extLst>
              <a:ext uri="{FF2B5EF4-FFF2-40B4-BE49-F238E27FC236}">
                <a16:creationId xmlns:a16="http://schemas.microsoft.com/office/drawing/2014/main" id="{DD76BFAD-70BB-4486-B469-AD5C1A412A32}"/>
              </a:ext>
            </a:extLst>
          </p:cNvPr>
          <p:cNvSpPr>
            <a:spLocks noGrp="1"/>
          </p:cNvSpPr>
          <p:nvPr>
            <p:ph type="body" sz="quarter" idx="18"/>
          </p:nvPr>
        </p:nvSpPr>
        <p:spPr>
          <a:xfrm>
            <a:off x="9192648" y="188913"/>
            <a:ext cx="2818557"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7" name="Textplatzhalter 15">
            <a:extLst>
              <a:ext uri="{FF2B5EF4-FFF2-40B4-BE49-F238E27FC236}">
                <a16:creationId xmlns:a16="http://schemas.microsoft.com/office/drawing/2014/main" id="{40C2617D-3BDB-4571-9378-08FDD0438520}"/>
              </a:ext>
            </a:extLst>
          </p:cNvPr>
          <p:cNvSpPr>
            <a:spLocks noGrp="1"/>
          </p:cNvSpPr>
          <p:nvPr>
            <p:ph type="body" sz="quarter" idx="19"/>
          </p:nvPr>
        </p:nvSpPr>
        <p:spPr>
          <a:xfrm>
            <a:off x="9192648" y="3519000"/>
            <a:ext cx="2818557"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8" name="Textplatzhalter 15">
            <a:extLst>
              <a:ext uri="{FF2B5EF4-FFF2-40B4-BE49-F238E27FC236}">
                <a16:creationId xmlns:a16="http://schemas.microsoft.com/office/drawing/2014/main" id="{F54E8675-0D09-4BDD-A9B4-086D9D987117}"/>
              </a:ext>
            </a:extLst>
          </p:cNvPr>
          <p:cNvSpPr>
            <a:spLocks noGrp="1"/>
          </p:cNvSpPr>
          <p:nvPr>
            <p:ph type="body" sz="quarter" idx="20"/>
          </p:nvPr>
        </p:nvSpPr>
        <p:spPr>
          <a:xfrm>
            <a:off x="6194093" y="188913"/>
            <a:ext cx="2818557"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9" name="Textplatzhalter 15">
            <a:extLst>
              <a:ext uri="{FF2B5EF4-FFF2-40B4-BE49-F238E27FC236}">
                <a16:creationId xmlns:a16="http://schemas.microsoft.com/office/drawing/2014/main" id="{8E035C27-98EC-4F21-9250-F195A599D4E2}"/>
              </a:ext>
            </a:extLst>
          </p:cNvPr>
          <p:cNvSpPr>
            <a:spLocks noGrp="1"/>
          </p:cNvSpPr>
          <p:nvPr>
            <p:ph type="body" sz="quarter" idx="21"/>
          </p:nvPr>
        </p:nvSpPr>
        <p:spPr>
          <a:xfrm>
            <a:off x="6194093" y="3519000"/>
            <a:ext cx="2818557"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0" name="Textplatzhalter 15">
            <a:extLst>
              <a:ext uri="{FF2B5EF4-FFF2-40B4-BE49-F238E27FC236}">
                <a16:creationId xmlns:a16="http://schemas.microsoft.com/office/drawing/2014/main" id="{1F3D9747-126E-45FD-B3B7-9F6AE40EBA16}"/>
              </a:ext>
            </a:extLst>
          </p:cNvPr>
          <p:cNvSpPr>
            <a:spLocks noGrp="1"/>
          </p:cNvSpPr>
          <p:nvPr>
            <p:ph type="body" sz="quarter" idx="22"/>
          </p:nvPr>
        </p:nvSpPr>
        <p:spPr>
          <a:xfrm>
            <a:off x="196979" y="3519000"/>
            <a:ext cx="5817114"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1" name="Textplatzhalter 15">
            <a:extLst>
              <a:ext uri="{FF2B5EF4-FFF2-40B4-BE49-F238E27FC236}">
                <a16:creationId xmlns:a16="http://schemas.microsoft.com/office/drawing/2014/main" id="{DCCBAFC7-EF4A-4A0A-9575-C86667A547A5}"/>
              </a:ext>
            </a:extLst>
          </p:cNvPr>
          <p:cNvSpPr>
            <a:spLocks noGrp="1"/>
          </p:cNvSpPr>
          <p:nvPr>
            <p:ph type="body" sz="quarter" idx="23"/>
          </p:nvPr>
        </p:nvSpPr>
        <p:spPr>
          <a:xfrm>
            <a:off x="196982" y="201883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139085123"/>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Inhalt 1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6333842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2" name="Rechteck 31">
            <a:extLst>
              <a:ext uri="{FF2B5EF4-FFF2-40B4-BE49-F238E27FC236}">
                <a16:creationId xmlns:a16="http://schemas.microsoft.com/office/drawing/2014/main" id="{57B8B345-5041-4C96-AF53-2790902268E1}"/>
              </a:ext>
            </a:extLst>
          </p:cNvPr>
          <p:cNvSpPr/>
          <p:nvPr userDrawn="1"/>
        </p:nvSpPr>
        <p:spPr bwMode="auto">
          <a:xfrm>
            <a:off x="4195053" y="2408972"/>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4195053" y="4629031"/>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4" name="Rechteck 33">
            <a:extLst>
              <a:ext uri="{FF2B5EF4-FFF2-40B4-BE49-F238E27FC236}">
                <a16:creationId xmlns:a16="http://schemas.microsoft.com/office/drawing/2014/main" id="{8D45160B-F537-4C49-867E-9302DEBB2358}"/>
              </a:ext>
            </a:extLst>
          </p:cNvPr>
          <p:cNvSpPr/>
          <p:nvPr userDrawn="1"/>
        </p:nvSpPr>
        <p:spPr bwMode="auto">
          <a:xfrm>
            <a:off x="196981" y="2408972"/>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5" name="Rechteck 34">
            <a:extLst>
              <a:ext uri="{FF2B5EF4-FFF2-40B4-BE49-F238E27FC236}">
                <a16:creationId xmlns:a16="http://schemas.microsoft.com/office/drawing/2014/main" id="{7DC4D833-2543-4229-B40B-46B52933D7C0}"/>
              </a:ext>
            </a:extLst>
          </p:cNvPr>
          <p:cNvSpPr/>
          <p:nvPr userDrawn="1"/>
        </p:nvSpPr>
        <p:spPr bwMode="auto">
          <a:xfrm>
            <a:off x="196981" y="4629031"/>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8193129" y="188913"/>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2"/>
            <a:ext cx="7816148" cy="2040058"/>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a:t>Mastertitelformat bearbeiten</a:t>
            </a:r>
            <a:endParaRPr lang="en-US"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8193129" y="188913"/>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8193129" y="2408972"/>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8193129" y="4629031"/>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37" name="Textplatzhalter 15">
            <a:extLst>
              <a:ext uri="{FF2B5EF4-FFF2-40B4-BE49-F238E27FC236}">
                <a16:creationId xmlns:a16="http://schemas.microsoft.com/office/drawing/2014/main" id="{F54E8485-9BA3-472D-8150-A6A220D9EA44}"/>
              </a:ext>
            </a:extLst>
          </p:cNvPr>
          <p:cNvSpPr>
            <a:spLocks noGrp="1"/>
          </p:cNvSpPr>
          <p:nvPr>
            <p:ph type="body" sz="quarter" idx="19"/>
          </p:nvPr>
        </p:nvSpPr>
        <p:spPr>
          <a:xfrm>
            <a:off x="8193129" y="240897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8" name="Textplatzhalter 15">
            <a:extLst>
              <a:ext uri="{FF2B5EF4-FFF2-40B4-BE49-F238E27FC236}">
                <a16:creationId xmlns:a16="http://schemas.microsoft.com/office/drawing/2014/main" id="{F0BB5AE2-1A50-461D-9C55-26CE8F524230}"/>
              </a:ext>
            </a:extLst>
          </p:cNvPr>
          <p:cNvSpPr>
            <a:spLocks noGrp="1"/>
          </p:cNvSpPr>
          <p:nvPr>
            <p:ph type="body" sz="quarter" idx="20"/>
          </p:nvPr>
        </p:nvSpPr>
        <p:spPr>
          <a:xfrm>
            <a:off x="8193129" y="4629031"/>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9" name="Textplatzhalter 15">
            <a:extLst>
              <a:ext uri="{FF2B5EF4-FFF2-40B4-BE49-F238E27FC236}">
                <a16:creationId xmlns:a16="http://schemas.microsoft.com/office/drawing/2014/main" id="{5E78EE5C-3470-4E67-89E4-4B959A17AFEA}"/>
              </a:ext>
            </a:extLst>
          </p:cNvPr>
          <p:cNvSpPr>
            <a:spLocks noGrp="1"/>
          </p:cNvSpPr>
          <p:nvPr>
            <p:ph type="body" sz="quarter" idx="21"/>
          </p:nvPr>
        </p:nvSpPr>
        <p:spPr>
          <a:xfrm>
            <a:off x="4195053" y="240897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0" name="Textplatzhalter 15">
            <a:extLst>
              <a:ext uri="{FF2B5EF4-FFF2-40B4-BE49-F238E27FC236}">
                <a16:creationId xmlns:a16="http://schemas.microsoft.com/office/drawing/2014/main" id="{AA884EEC-02B8-4929-9F06-252793D98C28}"/>
              </a:ext>
            </a:extLst>
          </p:cNvPr>
          <p:cNvSpPr>
            <a:spLocks noGrp="1"/>
          </p:cNvSpPr>
          <p:nvPr>
            <p:ph type="body" sz="quarter" idx="22"/>
          </p:nvPr>
        </p:nvSpPr>
        <p:spPr>
          <a:xfrm>
            <a:off x="4195053" y="4629031"/>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1" name="Textplatzhalter 15">
            <a:extLst>
              <a:ext uri="{FF2B5EF4-FFF2-40B4-BE49-F238E27FC236}">
                <a16:creationId xmlns:a16="http://schemas.microsoft.com/office/drawing/2014/main" id="{7E83F8FF-5674-473D-A693-44A83ACF0E8A}"/>
              </a:ext>
            </a:extLst>
          </p:cNvPr>
          <p:cNvSpPr>
            <a:spLocks noGrp="1"/>
          </p:cNvSpPr>
          <p:nvPr>
            <p:ph type="body" sz="quarter" idx="23"/>
          </p:nvPr>
        </p:nvSpPr>
        <p:spPr>
          <a:xfrm>
            <a:off x="196981" y="240897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2" name="Textplatzhalter 15">
            <a:extLst>
              <a:ext uri="{FF2B5EF4-FFF2-40B4-BE49-F238E27FC236}">
                <a16:creationId xmlns:a16="http://schemas.microsoft.com/office/drawing/2014/main" id="{7E91A2A3-9D4C-4F6E-9C56-A45217273F0B}"/>
              </a:ext>
            </a:extLst>
          </p:cNvPr>
          <p:cNvSpPr>
            <a:spLocks noGrp="1"/>
          </p:cNvSpPr>
          <p:nvPr>
            <p:ph type="body" sz="quarter" idx="24"/>
          </p:nvPr>
        </p:nvSpPr>
        <p:spPr>
          <a:xfrm>
            <a:off x="196981" y="4629031"/>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643986018"/>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el und Inhalt 1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11184006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08EDDFCF-D9DE-4676-A7A1-B9FDC0C661DE}"/>
              </a:ext>
            </a:extLst>
          </p:cNvPr>
          <p:cNvSpPr/>
          <p:nvPr userDrawn="1"/>
        </p:nvSpPr>
        <p:spPr bwMode="auto">
          <a:xfrm>
            <a:off x="8193129" y="188913"/>
            <a:ext cx="3818075"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4" name="Rechteck 23">
            <a:extLst>
              <a:ext uri="{FF2B5EF4-FFF2-40B4-BE49-F238E27FC236}">
                <a16:creationId xmlns:a16="http://schemas.microsoft.com/office/drawing/2014/main" id="{9F35E6E1-B01D-475E-BAF6-39926FA074E1}"/>
              </a:ext>
            </a:extLst>
          </p:cNvPr>
          <p:cNvSpPr/>
          <p:nvPr userDrawn="1"/>
        </p:nvSpPr>
        <p:spPr bwMode="auto">
          <a:xfrm>
            <a:off x="196981" y="1490721"/>
            <a:ext cx="7816147" cy="5178366"/>
          </a:xfrm>
          <a:prstGeom prst="rect">
            <a:avLst/>
          </a:prstGeom>
          <a:solidFill>
            <a:schemeClr val="bg2"/>
          </a:solidFill>
          <a:ln w="9525" cap="flat" cmpd="sng" algn="ctr">
            <a:solidFill>
              <a:schemeClr val="bg2"/>
            </a:solid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4195053" y="4629031"/>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8" cy="112180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a:t>Mastertitelformat bearbeiten</a:t>
            </a:r>
            <a:endParaRPr lang="en-US"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8193129" y="188913"/>
            <a:ext cx="3818075"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41" name="Textplatzhalter 15">
            <a:extLst>
              <a:ext uri="{FF2B5EF4-FFF2-40B4-BE49-F238E27FC236}">
                <a16:creationId xmlns:a16="http://schemas.microsoft.com/office/drawing/2014/main" id="{7E83F8FF-5674-473D-A693-44A83ACF0E8A}"/>
              </a:ext>
            </a:extLst>
          </p:cNvPr>
          <p:cNvSpPr>
            <a:spLocks noGrp="1"/>
          </p:cNvSpPr>
          <p:nvPr>
            <p:ph type="body" sz="quarter" idx="23"/>
          </p:nvPr>
        </p:nvSpPr>
        <p:spPr>
          <a:xfrm>
            <a:off x="196981" y="1490721"/>
            <a:ext cx="7816147"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894568114"/>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Inhalt 1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5294234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2" name="Rechteck 31">
            <a:extLst>
              <a:ext uri="{FF2B5EF4-FFF2-40B4-BE49-F238E27FC236}">
                <a16:creationId xmlns:a16="http://schemas.microsoft.com/office/drawing/2014/main" id="{57B8B345-5041-4C96-AF53-2790902268E1}"/>
              </a:ext>
            </a:extLst>
          </p:cNvPr>
          <p:cNvSpPr/>
          <p:nvPr userDrawn="1"/>
        </p:nvSpPr>
        <p:spPr bwMode="auto">
          <a:xfrm>
            <a:off x="4195053" y="1490722"/>
            <a:ext cx="3818075" cy="517836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4" name="Rechteck 33">
            <a:extLst>
              <a:ext uri="{FF2B5EF4-FFF2-40B4-BE49-F238E27FC236}">
                <a16:creationId xmlns:a16="http://schemas.microsoft.com/office/drawing/2014/main" id="{8D45160B-F537-4C49-867E-9302DEBB2358}"/>
              </a:ext>
            </a:extLst>
          </p:cNvPr>
          <p:cNvSpPr/>
          <p:nvPr userDrawn="1"/>
        </p:nvSpPr>
        <p:spPr bwMode="auto">
          <a:xfrm>
            <a:off x="196981" y="1490722"/>
            <a:ext cx="3818075" cy="517836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hasCustomPrompt="1"/>
          </p:nvPr>
        </p:nvSpPr>
        <p:spPr>
          <a:xfrm>
            <a:off x="196981" y="188912"/>
            <a:ext cx="11814224" cy="112180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br>
              <a:rPr lang="de-DE" dirty="0"/>
            </a:b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8193129" y="1490722"/>
            <a:ext cx="3818075" cy="517836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37" name="Textplatzhalter 15">
            <a:extLst>
              <a:ext uri="{FF2B5EF4-FFF2-40B4-BE49-F238E27FC236}">
                <a16:creationId xmlns:a16="http://schemas.microsoft.com/office/drawing/2014/main" id="{F54E8485-9BA3-472D-8150-A6A220D9EA44}"/>
              </a:ext>
            </a:extLst>
          </p:cNvPr>
          <p:cNvSpPr>
            <a:spLocks noGrp="1"/>
          </p:cNvSpPr>
          <p:nvPr>
            <p:ph type="body" sz="quarter" idx="19"/>
          </p:nvPr>
        </p:nvSpPr>
        <p:spPr>
          <a:xfrm>
            <a:off x="8193129" y="149072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9" name="Textplatzhalter 15">
            <a:extLst>
              <a:ext uri="{FF2B5EF4-FFF2-40B4-BE49-F238E27FC236}">
                <a16:creationId xmlns:a16="http://schemas.microsoft.com/office/drawing/2014/main" id="{5E78EE5C-3470-4E67-89E4-4B959A17AFEA}"/>
              </a:ext>
            </a:extLst>
          </p:cNvPr>
          <p:cNvSpPr>
            <a:spLocks noGrp="1"/>
          </p:cNvSpPr>
          <p:nvPr>
            <p:ph type="body" sz="quarter" idx="21"/>
          </p:nvPr>
        </p:nvSpPr>
        <p:spPr>
          <a:xfrm>
            <a:off x="4195053" y="149072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1" name="Textplatzhalter 15">
            <a:extLst>
              <a:ext uri="{FF2B5EF4-FFF2-40B4-BE49-F238E27FC236}">
                <a16:creationId xmlns:a16="http://schemas.microsoft.com/office/drawing/2014/main" id="{7E83F8FF-5674-473D-A693-44A83ACF0E8A}"/>
              </a:ext>
            </a:extLst>
          </p:cNvPr>
          <p:cNvSpPr>
            <a:spLocks noGrp="1"/>
          </p:cNvSpPr>
          <p:nvPr>
            <p:ph type="body" sz="quarter" idx="23"/>
          </p:nvPr>
        </p:nvSpPr>
        <p:spPr>
          <a:xfrm>
            <a:off x="196981" y="149072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14599372"/>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el und Inhalt 1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1484067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Rechteck 22">
            <a:extLst>
              <a:ext uri="{FF2B5EF4-FFF2-40B4-BE49-F238E27FC236}">
                <a16:creationId xmlns:a16="http://schemas.microsoft.com/office/drawing/2014/main" id="{0618F3D9-16DB-4D43-BD6D-E17166357DDF}"/>
              </a:ext>
            </a:extLst>
          </p:cNvPr>
          <p:cNvSpPr/>
          <p:nvPr userDrawn="1"/>
        </p:nvSpPr>
        <p:spPr bwMode="auto">
          <a:xfrm>
            <a:off x="6194091" y="4169903"/>
            <a:ext cx="5817114" cy="249918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4" name="Rechteck 23">
            <a:extLst>
              <a:ext uri="{FF2B5EF4-FFF2-40B4-BE49-F238E27FC236}">
                <a16:creationId xmlns:a16="http://schemas.microsoft.com/office/drawing/2014/main" id="{A6B5D289-8AEE-42DE-9484-E79369E68981}"/>
              </a:ext>
            </a:extLst>
          </p:cNvPr>
          <p:cNvSpPr/>
          <p:nvPr userDrawn="1"/>
        </p:nvSpPr>
        <p:spPr bwMode="auto">
          <a:xfrm>
            <a:off x="196980" y="4169903"/>
            <a:ext cx="5817114" cy="249918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8" name="Rechteck 17">
            <a:extLst>
              <a:ext uri="{FF2B5EF4-FFF2-40B4-BE49-F238E27FC236}">
                <a16:creationId xmlns:a16="http://schemas.microsoft.com/office/drawing/2014/main" id="{28BB09DE-8541-4212-84BD-259D9DE983C3}"/>
              </a:ext>
            </a:extLst>
          </p:cNvPr>
          <p:cNvSpPr/>
          <p:nvPr userDrawn="1"/>
        </p:nvSpPr>
        <p:spPr bwMode="auto">
          <a:xfrm>
            <a:off x="6194092" y="1490722"/>
            <a:ext cx="5817113" cy="249918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4" name="Rechteck 33">
            <a:extLst>
              <a:ext uri="{FF2B5EF4-FFF2-40B4-BE49-F238E27FC236}">
                <a16:creationId xmlns:a16="http://schemas.microsoft.com/office/drawing/2014/main" id="{8D45160B-F537-4C49-867E-9302DEBB2358}"/>
              </a:ext>
            </a:extLst>
          </p:cNvPr>
          <p:cNvSpPr/>
          <p:nvPr userDrawn="1"/>
        </p:nvSpPr>
        <p:spPr bwMode="auto">
          <a:xfrm>
            <a:off x="196980" y="1490722"/>
            <a:ext cx="5817114" cy="249918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hasCustomPrompt="1"/>
          </p:nvPr>
        </p:nvSpPr>
        <p:spPr>
          <a:xfrm>
            <a:off x="196981" y="188912"/>
            <a:ext cx="11814224" cy="112180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br>
              <a:rPr lang="de-DE" dirty="0"/>
            </a:b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37" name="Textplatzhalter 15">
            <a:extLst>
              <a:ext uri="{FF2B5EF4-FFF2-40B4-BE49-F238E27FC236}">
                <a16:creationId xmlns:a16="http://schemas.microsoft.com/office/drawing/2014/main" id="{F54E8485-9BA3-472D-8150-A6A220D9EA44}"/>
              </a:ext>
            </a:extLst>
          </p:cNvPr>
          <p:cNvSpPr>
            <a:spLocks noGrp="1"/>
          </p:cNvSpPr>
          <p:nvPr>
            <p:ph type="body" sz="quarter" idx="19"/>
          </p:nvPr>
        </p:nvSpPr>
        <p:spPr>
          <a:xfrm>
            <a:off x="6194092" y="1490722"/>
            <a:ext cx="5817113"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1" name="Textplatzhalter 15">
            <a:extLst>
              <a:ext uri="{FF2B5EF4-FFF2-40B4-BE49-F238E27FC236}">
                <a16:creationId xmlns:a16="http://schemas.microsoft.com/office/drawing/2014/main" id="{7E83F8FF-5674-473D-A693-44A83ACF0E8A}"/>
              </a:ext>
            </a:extLst>
          </p:cNvPr>
          <p:cNvSpPr>
            <a:spLocks noGrp="1"/>
          </p:cNvSpPr>
          <p:nvPr>
            <p:ph type="body" sz="quarter" idx="23"/>
          </p:nvPr>
        </p:nvSpPr>
        <p:spPr>
          <a:xfrm>
            <a:off x="196980" y="1490722"/>
            <a:ext cx="5817114"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5" name="Textplatzhalter 15">
            <a:extLst>
              <a:ext uri="{FF2B5EF4-FFF2-40B4-BE49-F238E27FC236}">
                <a16:creationId xmlns:a16="http://schemas.microsoft.com/office/drawing/2014/main" id="{460A8514-D800-4129-8E12-90FFDFB93F0D}"/>
              </a:ext>
            </a:extLst>
          </p:cNvPr>
          <p:cNvSpPr>
            <a:spLocks noGrp="1"/>
          </p:cNvSpPr>
          <p:nvPr>
            <p:ph type="body" sz="quarter" idx="24"/>
          </p:nvPr>
        </p:nvSpPr>
        <p:spPr>
          <a:xfrm>
            <a:off x="6194092" y="4169903"/>
            <a:ext cx="5817113"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6" name="Textplatzhalter 15">
            <a:extLst>
              <a:ext uri="{FF2B5EF4-FFF2-40B4-BE49-F238E27FC236}">
                <a16:creationId xmlns:a16="http://schemas.microsoft.com/office/drawing/2014/main" id="{64545849-2187-4B23-BA04-30EB393B8384}"/>
              </a:ext>
            </a:extLst>
          </p:cNvPr>
          <p:cNvSpPr>
            <a:spLocks noGrp="1"/>
          </p:cNvSpPr>
          <p:nvPr>
            <p:ph type="body" sz="quarter" idx="25"/>
          </p:nvPr>
        </p:nvSpPr>
        <p:spPr>
          <a:xfrm>
            <a:off x="196980" y="4169903"/>
            <a:ext cx="5817114"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02078379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_bl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995365884"/>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252DA38F-1A8E-4D40-AECF-BCEAA3DEBF5A}"/>
              </a:ext>
            </a:extLst>
          </p:cNvPr>
          <p:cNvSpPr/>
          <p:nvPr userDrawn="1"/>
        </p:nvSpPr>
        <p:spPr bwMode="auto">
          <a:xfrm>
            <a:off x="197400" y="188913"/>
            <a:ext cx="11797200" cy="64801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bg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4" name="Textplatzhalter 3"/>
          <p:cNvSpPr>
            <a:spLocks noGrp="1"/>
          </p:cNvSpPr>
          <p:nvPr>
            <p:ph type="body" sz="quarter" idx="10" hasCustomPrompt="1"/>
          </p:nvPr>
        </p:nvSpPr>
        <p:spPr>
          <a:xfrm>
            <a:off x="374650" y="2409247"/>
            <a:ext cx="4540250" cy="600164"/>
          </a:xfrm>
        </p:spPr>
        <p:txBody>
          <a:bodyPr lIns="0" tIns="0" rIns="0" bIns="0"/>
          <a:lstStyle>
            <a:lvl1pPr algn="r">
              <a:defRPr sz="1300">
                <a:solidFill>
                  <a:schemeClr val="bg1"/>
                </a:solidFill>
              </a:defRPr>
            </a:lvl1pPr>
          </a:lstStyle>
          <a:p>
            <a:pPr lvl="0"/>
            <a:r>
              <a:rPr lang="de-DE" dirty="0"/>
              <a:t>Verfasser</a:t>
            </a:r>
            <a:br>
              <a:rPr lang="de-DE" dirty="0"/>
            </a:br>
            <a:r>
              <a:rPr lang="de-DE" dirty="0"/>
              <a:t>Ort</a:t>
            </a:r>
            <a:br>
              <a:rPr lang="de-DE" dirty="0"/>
            </a:br>
            <a:r>
              <a:rPr lang="de-DE" dirty="0"/>
              <a:t>TT. Monat JJJJ</a:t>
            </a:r>
            <a:endParaRPr lang="de-AT" dirty="0"/>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094" y="6279356"/>
            <a:ext cx="1038599" cy="212725"/>
          </a:xfrm>
          <a:prstGeom prst="rect">
            <a:avLst/>
          </a:prstGeom>
        </p:spPr>
      </p:pic>
      <p:sp>
        <p:nvSpPr>
          <p:cNvPr id="13" name="Titel 12">
            <a:extLst>
              <a:ext uri="{FF2B5EF4-FFF2-40B4-BE49-F238E27FC236}">
                <a16:creationId xmlns:a16="http://schemas.microsoft.com/office/drawing/2014/main" id="{4F2045EF-14A1-4BAB-BE0B-8C5C717DFDF1}"/>
              </a:ext>
            </a:extLst>
          </p:cNvPr>
          <p:cNvSpPr>
            <a:spLocks noGrp="1"/>
          </p:cNvSpPr>
          <p:nvPr>
            <p:ph type="title"/>
          </p:nvPr>
        </p:nvSpPr>
        <p:spPr>
          <a:xfrm>
            <a:off x="197400" y="188913"/>
            <a:ext cx="4717500" cy="706311"/>
          </a:xfrm>
        </p:spPr>
        <p:txBody>
          <a:bodyPr vert="horz" rIns="0">
            <a:spAutoFit/>
          </a:bodyPr>
          <a:lstStyle>
            <a:lvl1pPr>
              <a:defRPr>
                <a:solidFill>
                  <a:schemeClr val="bg1"/>
                </a:solidFill>
              </a:defRPr>
            </a:lvl1pPr>
          </a:lstStyle>
          <a:p>
            <a:r>
              <a:rPr lang="de-DE"/>
              <a:t>Mastertitelformat bearbeiten</a:t>
            </a:r>
            <a:endParaRPr lang="en-US" dirty="0"/>
          </a:p>
        </p:txBody>
      </p:sp>
      <p:sp>
        <p:nvSpPr>
          <p:cNvPr id="3" name="Foliennummernplatzhalter 2">
            <a:extLst>
              <a:ext uri="{FF2B5EF4-FFF2-40B4-BE49-F238E27FC236}">
                <a16:creationId xmlns:a16="http://schemas.microsoft.com/office/drawing/2014/main" id="{C450D49B-D8AE-4ACB-B53A-ADA52E4F938A}"/>
              </a:ext>
            </a:extLst>
          </p:cNvPr>
          <p:cNvSpPr>
            <a:spLocks noGrp="1"/>
          </p:cNvSpPr>
          <p:nvPr>
            <p:ph type="sldNum" sz="quarter" idx="11"/>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28212371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el und Inhalt 1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408160462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8D45160B-F537-4C49-867E-9302DEBB2358}"/>
              </a:ext>
            </a:extLst>
          </p:cNvPr>
          <p:cNvSpPr/>
          <p:nvPr userDrawn="1"/>
        </p:nvSpPr>
        <p:spPr bwMode="auto">
          <a:xfrm>
            <a:off x="196980" y="1490722"/>
            <a:ext cx="11814225" cy="517836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hasCustomPrompt="1"/>
          </p:nvPr>
        </p:nvSpPr>
        <p:spPr>
          <a:xfrm>
            <a:off x="196981" y="188912"/>
            <a:ext cx="11814224" cy="112180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br>
              <a:rPr lang="de-DE" dirty="0"/>
            </a:b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41" name="Textplatzhalter 15">
            <a:extLst>
              <a:ext uri="{FF2B5EF4-FFF2-40B4-BE49-F238E27FC236}">
                <a16:creationId xmlns:a16="http://schemas.microsoft.com/office/drawing/2014/main" id="{7E83F8FF-5674-473D-A693-44A83ACF0E8A}"/>
              </a:ext>
            </a:extLst>
          </p:cNvPr>
          <p:cNvSpPr>
            <a:spLocks noGrp="1"/>
          </p:cNvSpPr>
          <p:nvPr>
            <p:ph type="body" sz="quarter" idx="23"/>
          </p:nvPr>
        </p:nvSpPr>
        <p:spPr>
          <a:xfrm>
            <a:off x="196980" y="1490722"/>
            <a:ext cx="11814225"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155330003"/>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2591587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6202674" y="188913"/>
            <a:ext cx="5791926" cy="6480175"/>
          </a:xfrm>
          <a:solidFill>
            <a:schemeClr val="accent3"/>
          </a:solid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p>
            <a:r>
              <a:rPr lang="de-DE"/>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1011238"/>
            <a:ext cx="5808531"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245247900"/>
      </p:ext>
    </p:extLst>
  </p:cSld>
  <p:clrMapOvr>
    <a:masterClrMapping/>
  </p:clrMapOvr>
  <p:extLst>
    <p:ext uri="{DCECCB84-F9BA-43D5-87BE-67443E8EF086}">
      <p15:sldGuideLst xmlns:p15="http://schemas.microsoft.com/office/powerpoint/2012/main">
        <p15:guide id="1" pos="3783" userDrawn="1">
          <p15:clr>
            <a:srgbClr val="FBAE40"/>
          </p15:clr>
        </p15:guide>
        <p15:guide id="2" pos="367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1309209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6202674" y="188913"/>
            <a:ext cx="5791926" cy="3150087"/>
          </a:xfrm>
          <a:solidFill>
            <a:schemeClr val="accent3"/>
          </a:solidFill>
        </p:spPr>
        <p:txBody>
          <a:bodyPr>
            <a:noAutofit/>
          </a:bodyPr>
          <a:lstStyle>
            <a:lvl1pPr>
              <a:defRPr/>
            </a:lvl1pPr>
          </a:lstStyle>
          <a:p>
            <a:r>
              <a:rPr lang="en-US" dirty="0"/>
              <a:t> </a:t>
            </a:r>
          </a:p>
        </p:txBody>
      </p:sp>
      <p:sp>
        <p:nvSpPr>
          <p:cNvPr id="17" name="Bildplatzhalter 6">
            <a:extLst>
              <a:ext uri="{FF2B5EF4-FFF2-40B4-BE49-F238E27FC236}">
                <a16:creationId xmlns:a16="http://schemas.microsoft.com/office/drawing/2014/main" id="{C36F64BA-545F-4D9D-9BE1-8AE8EE757498}"/>
              </a:ext>
            </a:extLst>
          </p:cNvPr>
          <p:cNvSpPr>
            <a:spLocks noGrp="1" noChangeAspect="1"/>
          </p:cNvSpPr>
          <p:nvPr>
            <p:ph type="pic" sz="quarter" idx="19" hasCustomPrompt="1"/>
          </p:nvPr>
        </p:nvSpPr>
        <p:spPr>
          <a:xfrm>
            <a:off x="6202674" y="3519000"/>
            <a:ext cx="5791926" cy="3150087"/>
          </a:xfrm>
          <a:solidFill>
            <a:schemeClr val="accent3"/>
          </a:solid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p>
            <a:r>
              <a:rPr lang="de-DE"/>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1557338"/>
            <a:ext cx="5808531"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83650213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60641866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7FD05370-A0B2-4F44-A11A-18774D13DD6D}"/>
              </a:ext>
            </a:extLst>
          </p:cNvPr>
          <p:cNvSpPr txBox="1">
            <a:spLocks/>
          </p:cNvSpPr>
          <p:nvPr userDrawn="1"/>
        </p:nvSpPr>
        <p:spPr bwMode="auto">
          <a:xfrm>
            <a:off x="196982" y="188912"/>
            <a:ext cx="5817113" cy="3150089"/>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endParaRPr lang="en-US" kern="0" dirty="0"/>
          </a:p>
        </p:txBody>
      </p:sp>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6202674" y="188913"/>
            <a:ext cx="5791926" cy="3150087"/>
          </a:xfrm>
          <a:solidFill>
            <a:schemeClr val="accent3"/>
          </a:solidFill>
        </p:spPr>
        <p:txBody>
          <a:bodyPr>
            <a:noAutofit/>
          </a:bodyPr>
          <a:lstStyle>
            <a:lvl1pPr>
              <a:defRPr/>
            </a:lvl1pPr>
          </a:lstStyle>
          <a:p>
            <a:r>
              <a:rPr lang="en-US" dirty="0"/>
              <a:t> </a:t>
            </a:r>
          </a:p>
        </p:txBody>
      </p:sp>
      <p:sp>
        <p:nvSpPr>
          <p:cNvPr id="17" name="Bildplatzhalter 6">
            <a:extLst>
              <a:ext uri="{FF2B5EF4-FFF2-40B4-BE49-F238E27FC236}">
                <a16:creationId xmlns:a16="http://schemas.microsoft.com/office/drawing/2014/main" id="{C36F64BA-545F-4D9D-9BE1-8AE8EE757498}"/>
              </a:ext>
            </a:extLst>
          </p:cNvPr>
          <p:cNvSpPr>
            <a:spLocks noGrp="1" noChangeAspect="1"/>
          </p:cNvSpPr>
          <p:nvPr>
            <p:ph type="pic" sz="quarter" idx="19" hasCustomPrompt="1"/>
          </p:nvPr>
        </p:nvSpPr>
        <p:spPr>
          <a:xfrm>
            <a:off x="6202674" y="3519000"/>
            <a:ext cx="5791926" cy="3150087"/>
          </a:xfrm>
          <a:solidFill>
            <a:schemeClr val="accent3"/>
          </a:solid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3519000"/>
            <a:ext cx="5808531" cy="315008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3519000"/>
            <a:ext cx="5808531"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extplatzhalter 15">
            <a:extLst>
              <a:ext uri="{FF2B5EF4-FFF2-40B4-BE49-F238E27FC236}">
                <a16:creationId xmlns:a16="http://schemas.microsoft.com/office/drawing/2014/main" id="{1612E271-F993-466D-B6CB-DBB0E0F13432}"/>
              </a:ext>
            </a:extLst>
          </p:cNvPr>
          <p:cNvSpPr>
            <a:spLocks noGrp="1"/>
          </p:cNvSpPr>
          <p:nvPr>
            <p:ph type="body" sz="quarter" idx="23"/>
          </p:nvPr>
        </p:nvSpPr>
        <p:spPr>
          <a:xfrm>
            <a:off x="196982" y="201883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360939057"/>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5074786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8CFC9D91-A29A-4DC4-9897-FD62BD7D9239}"/>
              </a:ext>
            </a:extLst>
          </p:cNvPr>
          <p:cNvSpPr>
            <a:spLocks noGrp="1"/>
          </p:cNvSpPr>
          <p:nvPr>
            <p:ph type="pic" sz="quarter" idx="17" hasCustomPrompt="1"/>
          </p:nvPr>
        </p:nvSpPr>
        <p:spPr>
          <a:xfrm>
            <a:off x="6202674" y="188913"/>
            <a:ext cx="5791926" cy="2040058"/>
          </a:xfrm>
          <a:solidFill>
            <a:schemeClr val="accent3"/>
          </a:solidFill>
        </p:spPr>
        <p:txBody>
          <a:bodyPr>
            <a:noAutofit/>
          </a:bodyPr>
          <a:lstStyle>
            <a:lvl1pPr>
              <a:defRPr/>
            </a:lvl1pPr>
          </a:lstStyle>
          <a:p>
            <a:r>
              <a:rPr lang="en-US" dirty="0"/>
              <a:t> </a:t>
            </a:r>
          </a:p>
        </p:txBody>
      </p:sp>
      <p:sp>
        <p:nvSpPr>
          <p:cNvPr id="19" name="Bildplatzhalter 6">
            <a:extLst>
              <a:ext uri="{FF2B5EF4-FFF2-40B4-BE49-F238E27FC236}">
                <a16:creationId xmlns:a16="http://schemas.microsoft.com/office/drawing/2014/main" id="{3F5510AA-FC68-458D-9D33-F5A040C0AED0}"/>
              </a:ext>
            </a:extLst>
          </p:cNvPr>
          <p:cNvSpPr>
            <a:spLocks noGrp="1"/>
          </p:cNvSpPr>
          <p:nvPr>
            <p:ph type="pic" sz="quarter" idx="19" hasCustomPrompt="1"/>
          </p:nvPr>
        </p:nvSpPr>
        <p:spPr>
          <a:xfrm>
            <a:off x="6202674" y="4629028"/>
            <a:ext cx="5791926" cy="2040058"/>
          </a:xfrm>
          <a:solidFill>
            <a:schemeClr val="accent3"/>
          </a:solidFill>
        </p:spPr>
        <p:txBody>
          <a:bodyPr>
            <a:noAutofit/>
          </a:bodyPr>
          <a:lstStyle>
            <a:lvl1pPr>
              <a:defRPr/>
            </a:lvl1pPr>
          </a:lstStyle>
          <a:p>
            <a:r>
              <a:rPr lang="en-US" dirty="0"/>
              <a:t> </a:t>
            </a:r>
          </a:p>
        </p:txBody>
      </p:sp>
      <p:sp>
        <p:nvSpPr>
          <p:cNvPr id="20" name="Bildplatzhalter 6">
            <a:extLst>
              <a:ext uri="{FF2B5EF4-FFF2-40B4-BE49-F238E27FC236}">
                <a16:creationId xmlns:a16="http://schemas.microsoft.com/office/drawing/2014/main" id="{5406F403-6323-4A0C-B92C-05A47C31F31F}"/>
              </a:ext>
            </a:extLst>
          </p:cNvPr>
          <p:cNvSpPr>
            <a:spLocks noGrp="1"/>
          </p:cNvSpPr>
          <p:nvPr>
            <p:ph type="pic" sz="quarter" idx="24" hasCustomPrompt="1"/>
          </p:nvPr>
        </p:nvSpPr>
        <p:spPr>
          <a:xfrm>
            <a:off x="6202674" y="2408971"/>
            <a:ext cx="5791926" cy="2040058"/>
          </a:xfrm>
          <a:solidFill>
            <a:schemeClr val="accent3"/>
          </a:solidFill>
        </p:spPr>
        <p:txBody>
          <a:bodyPr>
            <a:noAutofit/>
          </a:bodyPr>
          <a:lstStyle>
            <a:lvl1pPr>
              <a:defRPr/>
            </a:lvl1pPr>
          </a:lstStyle>
          <a:p>
            <a:r>
              <a:rPr lang="en-US" dirty="0"/>
              <a:t> </a:t>
            </a:r>
          </a:p>
        </p:txBody>
      </p:sp>
      <p:sp>
        <p:nvSpPr>
          <p:cNvPr id="15" name="Titel 1">
            <a:extLst>
              <a:ext uri="{FF2B5EF4-FFF2-40B4-BE49-F238E27FC236}">
                <a16:creationId xmlns:a16="http://schemas.microsoft.com/office/drawing/2014/main" id="{7FD05370-A0B2-4F44-A11A-18774D13DD6D}"/>
              </a:ext>
            </a:extLst>
          </p:cNvPr>
          <p:cNvSpPr txBox="1">
            <a:spLocks/>
          </p:cNvSpPr>
          <p:nvPr userDrawn="1"/>
        </p:nvSpPr>
        <p:spPr bwMode="auto">
          <a:xfrm>
            <a:off x="196982" y="188912"/>
            <a:ext cx="5817113" cy="3150089"/>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endParaRPr lang="en-US" kern="0" dirty="0"/>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3519000"/>
            <a:ext cx="5808531" cy="315008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3519000"/>
            <a:ext cx="5808531"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extplatzhalter 15">
            <a:extLst>
              <a:ext uri="{FF2B5EF4-FFF2-40B4-BE49-F238E27FC236}">
                <a16:creationId xmlns:a16="http://schemas.microsoft.com/office/drawing/2014/main" id="{1612E271-F993-466D-B6CB-DBB0E0F13432}"/>
              </a:ext>
            </a:extLst>
          </p:cNvPr>
          <p:cNvSpPr>
            <a:spLocks noGrp="1"/>
          </p:cNvSpPr>
          <p:nvPr>
            <p:ph type="body" sz="quarter" idx="23"/>
          </p:nvPr>
        </p:nvSpPr>
        <p:spPr>
          <a:xfrm>
            <a:off x="196982" y="201883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482751652"/>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50747863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8CFC9D91-A29A-4DC4-9897-FD62BD7D9239}"/>
              </a:ext>
            </a:extLst>
          </p:cNvPr>
          <p:cNvSpPr>
            <a:spLocks noGrp="1"/>
          </p:cNvSpPr>
          <p:nvPr>
            <p:ph type="pic" sz="quarter" idx="17" hasCustomPrompt="1"/>
          </p:nvPr>
        </p:nvSpPr>
        <p:spPr>
          <a:xfrm>
            <a:off x="6202674" y="188913"/>
            <a:ext cx="5791926" cy="6480174"/>
          </a:xfrm>
          <a:solidFill>
            <a:schemeClr val="accent3"/>
          </a:solidFill>
        </p:spPr>
        <p:txBody>
          <a:bodyPr>
            <a:noAutofit/>
          </a:bodyPr>
          <a:lstStyle>
            <a:lvl1pPr>
              <a:defRPr/>
            </a:lvl1pPr>
          </a:lstStyle>
          <a:p>
            <a:r>
              <a:rPr lang="en-US" dirty="0"/>
              <a:t> </a:t>
            </a:r>
          </a:p>
        </p:txBody>
      </p:sp>
      <p:sp>
        <p:nvSpPr>
          <p:cNvPr id="15" name="Titel 1">
            <a:extLst>
              <a:ext uri="{FF2B5EF4-FFF2-40B4-BE49-F238E27FC236}">
                <a16:creationId xmlns:a16="http://schemas.microsoft.com/office/drawing/2014/main" id="{7FD05370-A0B2-4F44-A11A-18774D13DD6D}"/>
              </a:ext>
            </a:extLst>
          </p:cNvPr>
          <p:cNvSpPr txBox="1">
            <a:spLocks/>
          </p:cNvSpPr>
          <p:nvPr userDrawn="1"/>
        </p:nvSpPr>
        <p:spPr bwMode="auto">
          <a:xfrm>
            <a:off x="196982" y="188912"/>
            <a:ext cx="5817113" cy="2040059"/>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endParaRPr lang="en-US" kern="0" dirty="0"/>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2408971"/>
            <a:ext cx="5808531" cy="426011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2408971"/>
            <a:ext cx="5808531"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extplatzhalter 15">
            <a:extLst>
              <a:ext uri="{FF2B5EF4-FFF2-40B4-BE49-F238E27FC236}">
                <a16:creationId xmlns:a16="http://schemas.microsoft.com/office/drawing/2014/main" id="{1612E271-F993-466D-B6CB-DBB0E0F13432}"/>
              </a:ext>
            </a:extLst>
          </p:cNvPr>
          <p:cNvSpPr>
            <a:spLocks noGrp="1"/>
          </p:cNvSpPr>
          <p:nvPr>
            <p:ph type="body" sz="quarter" idx="23"/>
          </p:nvPr>
        </p:nvSpPr>
        <p:spPr>
          <a:xfrm>
            <a:off x="196982" y="90880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091007052"/>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halt mit Foto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9557270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6202674" y="188913"/>
            <a:ext cx="5791926" cy="6480175"/>
          </a:xfrm>
          <a:solidFill>
            <a:schemeClr val="accent3"/>
          </a:solidFill>
        </p:spPr>
        <p:txBody>
          <a:bodyPr>
            <a:noAutofit/>
          </a:bodyPr>
          <a:lstStyle>
            <a:lvl1pPr>
              <a:defRPr/>
            </a:lvl1pPr>
          </a:lstStyle>
          <a:p>
            <a:r>
              <a:rPr lang="en-US" dirty="0"/>
              <a:t> </a:t>
            </a: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3150087"/>
          </a:xfrm>
          <a:solidFill>
            <a:schemeClr val="bg2"/>
          </a:solidFill>
        </p:spPr>
        <p:txBody>
          <a:bodyPr vert="horz"/>
          <a:lstStyle/>
          <a:p>
            <a:r>
              <a:rPr lang="de-DE"/>
              <a:t>Mastertitelformat bearbeiten</a:t>
            </a:r>
            <a:endParaRPr lang="en-US" dirty="0"/>
          </a:p>
        </p:txBody>
      </p:sp>
      <p:sp>
        <p:nvSpPr>
          <p:cNvPr id="11" name="Rechteck 10">
            <a:extLst>
              <a:ext uri="{FF2B5EF4-FFF2-40B4-BE49-F238E27FC236}">
                <a16:creationId xmlns:a16="http://schemas.microsoft.com/office/drawing/2014/main" id="{BDDDE4D4-136A-491F-B28E-A3131E62ABD2}"/>
              </a:ext>
            </a:extLst>
          </p:cNvPr>
          <p:cNvSpPr/>
          <p:nvPr userDrawn="1"/>
        </p:nvSpPr>
        <p:spPr bwMode="auto">
          <a:xfrm>
            <a:off x="196982"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8" name="Textplatzhalter 15">
            <a:extLst>
              <a:ext uri="{FF2B5EF4-FFF2-40B4-BE49-F238E27FC236}">
                <a16:creationId xmlns:a16="http://schemas.microsoft.com/office/drawing/2014/main" id="{805D5EB7-0DFF-4FE1-9F41-710DF84C7B45}"/>
              </a:ext>
            </a:extLst>
          </p:cNvPr>
          <p:cNvSpPr>
            <a:spLocks noGrp="1"/>
          </p:cNvSpPr>
          <p:nvPr>
            <p:ph type="body" sz="quarter" idx="18"/>
          </p:nvPr>
        </p:nvSpPr>
        <p:spPr>
          <a:xfrm>
            <a:off x="196982" y="3519000"/>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583135546"/>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halt mit Foto 3">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31230949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BDDDE4D4-136A-491F-B28E-A3131E62ABD2}"/>
              </a:ext>
            </a:extLst>
          </p:cNvPr>
          <p:cNvSpPr/>
          <p:nvPr userDrawn="1"/>
        </p:nvSpPr>
        <p:spPr bwMode="auto">
          <a:xfrm>
            <a:off x="196982" y="3519000"/>
            <a:ext cx="2814265"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6202674" y="188913"/>
            <a:ext cx="5791926" cy="6480175"/>
          </a:xfrm>
          <a:solidFill>
            <a:schemeClr val="accent3"/>
          </a:solidFill>
        </p:spPr>
        <p:txBody>
          <a:bodyPr>
            <a:noAutofit/>
          </a:bodyPr>
          <a:lstStyle>
            <a:lvl1pPr>
              <a:defRPr/>
            </a:lvl1pPr>
          </a:lstStyle>
          <a:p>
            <a:r>
              <a:rPr lang="en-US" dirty="0"/>
              <a:t> </a:t>
            </a: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3150087"/>
          </a:xfr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defRPr lang="en-US" kern="0" dirty="0">
                <a:solidFill>
                  <a:schemeClr val="bg1"/>
                </a:solidFill>
              </a:defRPr>
            </a:lvl1pPr>
          </a:lstStyle>
          <a:p>
            <a:pPr marL="0" lvl="0" defTabSz="914400" latinLnBrk="0"/>
            <a:r>
              <a:rPr lang="de-DE"/>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8" name="Textplatzhalter 15">
            <a:extLst>
              <a:ext uri="{FF2B5EF4-FFF2-40B4-BE49-F238E27FC236}">
                <a16:creationId xmlns:a16="http://schemas.microsoft.com/office/drawing/2014/main" id="{805D5EB7-0DFF-4FE1-9F41-710DF84C7B45}"/>
              </a:ext>
            </a:extLst>
          </p:cNvPr>
          <p:cNvSpPr>
            <a:spLocks noGrp="1"/>
          </p:cNvSpPr>
          <p:nvPr>
            <p:ph type="body" sz="quarter" idx="18"/>
          </p:nvPr>
        </p:nvSpPr>
        <p:spPr>
          <a:xfrm>
            <a:off x="196982" y="3519000"/>
            <a:ext cx="2814265" cy="1320168"/>
          </a:xfrm>
        </p:spPr>
        <p:txBody>
          <a:bodyPr lIns="180000" tIns="136800" rIns="180000" bIns="180000"/>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Rechteck 11">
            <a:extLst>
              <a:ext uri="{FF2B5EF4-FFF2-40B4-BE49-F238E27FC236}">
                <a16:creationId xmlns:a16="http://schemas.microsoft.com/office/drawing/2014/main" id="{B284FD30-B510-46E7-8797-CA2CBBBB1392}"/>
              </a:ext>
            </a:extLst>
          </p:cNvPr>
          <p:cNvSpPr/>
          <p:nvPr userDrawn="1"/>
        </p:nvSpPr>
        <p:spPr bwMode="auto">
          <a:xfrm>
            <a:off x="3191247" y="3519000"/>
            <a:ext cx="2814266"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5" name="Textplatzhalter 15">
            <a:extLst>
              <a:ext uri="{FF2B5EF4-FFF2-40B4-BE49-F238E27FC236}">
                <a16:creationId xmlns:a16="http://schemas.microsoft.com/office/drawing/2014/main" id="{D6F51F4F-BF22-45C6-B33F-F472B2FFB33F}"/>
              </a:ext>
            </a:extLst>
          </p:cNvPr>
          <p:cNvSpPr>
            <a:spLocks noGrp="1"/>
          </p:cNvSpPr>
          <p:nvPr>
            <p:ph type="body" sz="quarter" idx="19"/>
          </p:nvPr>
        </p:nvSpPr>
        <p:spPr>
          <a:xfrm>
            <a:off x="3191247" y="3519000"/>
            <a:ext cx="2814265" cy="1320168"/>
          </a:xfrm>
        </p:spPr>
        <p:txBody>
          <a:bodyPr lIns="180000" tIns="136800" rIns="180000" bIns="180000"/>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4" name="Textplatzhalter 15">
            <a:extLst>
              <a:ext uri="{FF2B5EF4-FFF2-40B4-BE49-F238E27FC236}">
                <a16:creationId xmlns:a16="http://schemas.microsoft.com/office/drawing/2014/main" id="{58426791-2F24-4B9E-A67A-A2CA70942465}"/>
              </a:ext>
            </a:extLst>
          </p:cNvPr>
          <p:cNvSpPr>
            <a:spLocks noGrp="1"/>
          </p:cNvSpPr>
          <p:nvPr>
            <p:ph type="body" sz="quarter" idx="23"/>
          </p:nvPr>
        </p:nvSpPr>
        <p:spPr>
          <a:xfrm>
            <a:off x="196982" y="2018832"/>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002278056"/>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halt mit Foto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5324376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196982" y="188913"/>
            <a:ext cx="5791926" cy="6480175"/>
          </a:xfrm>
          <a:solidFill>
            <a:schemeClr val="accent3"/>
          </a:solidFill>
        </p:spPr>
        <p:txBody>
          <a:bodyPr>
            <a:noAutofit/>
          </a:bodyPr>
          <a:lstStyle>
            <a:lvl1pPr>
              <a:defRPr/>
            </a:lvl1pPr>
          </a:lstStyle>
          <a:p>
            <a:r>
              <a:rPr lang="en-US" dirty="0"/>
              <a:t> </a:t>
            </a:r>
          </a:p>
        </p:txBody>
      </p:sp>
      <p:sp>
        <p:nvSpPr>
          <p:cNvPr id="18" name="Bildplatzhalter 6">
            <a:extLst>
              <a:ext uri="{FF2B5EF4-FFF2-40B4-BE49-F238E27FC236}">
                <a16:creationId xmlns:a16="http://schemas.microsoft.com/office/drawing/2014/main" id="{6C9A7E67-0E3A-4A64-9FA6-B2D1B5C7F768}"/>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6202674"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6202674" y="188913"/>
            <a:ext cx="5808531"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1871757662"/>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halt mit Foto 5">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5763443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7CC27BA-4153-486A-BB36-41E4CE098B16}"/>
              </a:ext>
            </a:extLst>
          </p:cNvPr>
          <p:cNvSpPr/>
          <p:nvPr userDrawn="1"/>
        </p:nvSpPr>
        <p:spPr bwMode="auto">
          <a:xfrm>
            <a:off x="6202674"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213587" y="188913"/>
            <a:ext cx="5791926" cy="6480175"/>
          </a:xfrm>
          <a:solidFill>
            <a:schemeClr val="accent3"/>
          </a:solid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7" name="Textplatzhalter 15">
            <a:extLst>
              <a:ext uri="{FF2B5EF4-FFF2-40B4-BE49-F238E27FC236}">
                <a16:creationId xmlns:a16="http://schemas.microsoft.com/office/drawing/2014/main" id="{F0EC5D95-E1FE-48B5-ACB1-D1BECA67733F}"/>
              </a:ext>
            </a:extLst>
          </p:cNvPr>
          <p:cNvSpPr>
            <a:spLocks noGrp="1"/>
          </p:cNvSpPr>
          <p:nvPr>
            <p:ph type="body" sz="quarter" idx="20"/>
          </p:nvPr>
        </p:nvSpPr>
        <p:spPr>
          <a:xfrm>
            <a:off x="6202674" y="3519000"/>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Rechteck 18">
            <a:extLst>
              <a:ext uri="{FF2B5EF4-FFF2-40B4-BE49-F238E27FC236}">
                <a16:creationId xmlns:a16="http://schemas.microsoft.com/office/drawing/2014/main" id="{39E91C94-4FDD-4169-B1DE-38DE2CD4E21B}"/>
              </a:ext>
            </a:extLst>
          </p:cNvPr>
          <p:cNvSpPr/>
          <p:nvPr userDrawn="1"/>
        </p:nvSpPr>
        <p:spPr bwMode="auto">
          <a:xfrm>
            <a:off x="6202674" y="188913"/>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Textplatzhalter 15">
            <a:extLst>
              <a:ext uri="{FF2B5EF4-FFF2-40B4-BE49-F238E27FC236}">
                <a16:creationId xmlns:a16="http://schemas.microsoft.com/office/drawing/2014/main" id="{D8507917-8760-4A47-ADC4-24880E79C2DB}"/>
              </a:ext>
            </a:extLst>
          </p:cNvPr>
          <p:cNvSpPr>
            <a:spLocks noGrp="1"/>
          </p:cNvSpPr>
          <p:nvPr>
            <p:ph type="body" sz="quarter" idx="21"/>
          </p:nvPr>
        </p:nvSpPr>
        <p:spPr>
          <a:xfrm>
            <a:off x="6202674" y="188913"/>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Bildplatzhalter 6">
            <a:extLst>
              <a:ext uri="{FF2B5EF4-FFF2-40B4-BE49-F238E27FC236}">
                <a16:creationId xmlns:a16="http://schemas.microsoft.com/office/drawing/2014/main" id="{64AAE6B5-132B-484A-A993-990C2BE73C5E}"/>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4" name="Titel 3">
            <a:extLst>
              <a:ext uri="{FF2B5EF4-FFF2-40B4-BE49-F238E27FC236}">
                <a16:creationId xmlns:a16="http://schemas.microsoft.com/office/drawing/2014/main" id="{67056B68-98FD-4B82-A543-0053D103A3FC}"/>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a:t>Mastertitelformat bearbeiten</a:t>
            </a:r>
            <a:endParaRPr lang="en-US" dirty="0"/>
          </a:p>
        </p:txBody>
      </p:sp>
    </p:spTree>
    <p:extLst>
      <p:ext uri="{BB962C8B-B14F-4D97-AF65-F5344CB8AC3E}">
        <p14:creationId xmlns:p14="http://schemas.microsoft.com/office/powerpoint/2010/main" val="394908173"/>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_Foto">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8065539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0112F1E6-4019-46DF-8875-641EC151FE39}"/>
              </a:ext>
            </a:extLst>
          </p:cNvPr>
          <p:cNvSpPr>
            <a:spLocks noGrp="1" noChangeAspect="1"/>
          </p:cNvSpPr>
          <p:nvPr>
            <p:ph type="pic" sz="quarter" idx="14" hasCustomPrompt="1"/>
          </p:nvPr>
        </p:nvSpPr>
        <p:spPr>
          <a:xfrm>
            <a:off x="197400" y="188913"/>
            <a:ext cx="11797200" cy="6480175"/>
          </a:xfrm>
          <a:solidFill>
            <a:schemeClr val="accent3"/>
          </a:solidFill>
        </p:spPr>
        <p:txBody>
          <a:bodyPr>
            <a:noAutofit/>
          </a:bodyPr>
          <a:lstStyle>
            <a:lvl1pPr>
              <a:defRPr/>
            </a:lvl1pPr>
          </a:lstStyle>
          <a:p>
            <a:r>
              <a:rPr lang="en-US" dirty="0"/>
              <a:t> </a:t>
            </a:r>
          </a:p>
        </p:txBody>
      </p:sp>
      <p:sp>
        <p:nvSpPr>
          <p:cNvPr id="7" name="Bildplatzhalter 6">
            <a:extLst>
              <a:ext uri="{FF2B5EF4-FFF2-40B4-BE49-F238E27FC236}">
                <a16:creationId xmlns:a16="http://schemas.microsoft.com/office/drawing/2014/main" id="{F0DD0F9B-2A10-4506-92DB-AB3871E01634}"/>
              </a:ext>
            </a:extLst>
          </p:cNvPr>
          <p:cNvSpPr>
            <a:spLocks noGrp="1"/>
          </p:cNvSpPr>
          <p:nvPr>
            <p:ph type="pic" sz="quarter" idx="12" hasCustomPrompt="1"/>
          </p:nvPr>
        </p:nvSpPr>
        <p:spPr>
          <a:xfrm>
            <a:off x="5131453" y="2450298"/>
            <a:ext cx="1929095" cy="1957404"/>
          </a:xfrm>
          <a: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noAutofit/>
          </a:bodyPr>
          <a:lstStyle>
            <a:lvl1pPr>
              <a:defRPr/>
            </a:lvl1pPr>
          </a:lstStyle>
          <a:p>
            <a:r>
              <a:rPr lang="en-US" dirty="0"/>
              <a:t> </a:t>
            </a: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4" name="Textplatzhalter 3"/>
          <p:cNvSpPr>
            <a:spLocks noGrp="1"/>
          </p:cNvSpPr>
          <p:nvPr>
            <p:ph type="body" sz="quarter" idx="10" hasCustomPrompt="1"/>
          </p:nvPr>
        </p:nvSpPr>
        <p:spPr>
          <a:xfrm>
            <a:off x="374650" y="2409247"/>
            <a:ext cx="4540250" cy="600164"/>
          </a:xfrm>
        </p:spPr>
        <p:txBody>
          <a:bodyPr lIns="0" tIns="0" rIns="0" bIns="0"/>
          <a:lstStyle>
            <a:lvl1pPr algn="r">
              <a:defRPr sz="1300">
                <a:solidFill>
                  <a:schemeClr val="bg1"/>
                </a:solidFill>
              </a:defRPr>
            </a:lvl1pPr>
          </a:lstStyle>
          <a:p>
            <a:pPr lvl="0"/>
            <a:r>
              <a:rPr lang="de-DE" dirty="0"/>
              <a:t>Verfasser</a:t>
            </a:r>
            <a:br>
              <a:rPr lang="de-DE" dirty="0"/>
            </a:br>
            <a:r>
              <a:rPr lang="de-DE" dirty="0"/>
              <a:t>Ort</a:t>
            </a:r>
            <a:br>
              <a:rPr lang="de-DE" dirty="0"/>
            </a:br>
            <a:r>
              <a:rPr lang="de-DE" dirty="0"/>
              <a:t>TT. Monat JJJJ</a:t>
            </a:r>
            <a:endParaRPr lang="de-AT" dirty="0"/>
          </a:p>
        </p:txBody>
      </p:sp>
      <p:sp>
        <p:nvSpPr>
          <p:cNvPr id="13" name="Titel 12">
            <a:extLst>
              <a:ext uri="{FF2B5EF4-FFF2-40B4-BE49-F238E27FC236}">
                <a16:creationId xmlns:a16="http://schemas.microsoft.com/office/drawing/2014/main" id="{4F2045EF-14A1-4BAB-BE0B-8C5C717DFDF1}"/>
              </a:ext>
            </a:extLst>
          </p:cNvPr>
          <p:cNvSpPr>
            <a:spLocks noGrp="1"/>
          </p:cNvSpPr>
          <p:nvPr>
            <p:ph type="title"/>
          </p:nvPr>
        </p:nvSpPr>
        <p:spPr>
          <a:xfrm>
            <a:off x="197400" y="188913"/>
            <a:ext cx="4717500" cy="706311"/>
          </a:xfrm>
        </p:spPr>
        <p:txBody>
          <a:bodyPr vert="horz" rIns="0">
            <a:spAutoFit/>
          </a:bodyPr>
          <a:lstStyle>
            <a:lvl1pPr>
              <a:defRPr>
                <a:solidFill>
                  <a:schemeClr val="bg1"/>
                </a:solidFill>
              </a:defRPr>
            </a:lvl1pPr>
          </a:lstStyle>
          <a:p>
            <a:r>
              <a:rPr lang="de-DE"/>
              <a:t>Mastertitelformat bearbeiten</a:t>
            </a:r>
            <a:endParaRPr lang="en-US" dirty="0"/>
          </a:p>
        </p:txBody>
      </p:sp>
      <p:sp>
        <p:nvSpPr>
          <p:cNvPr id="17" name="Bildplatzhalter 6">
            <a:extLst>
              <a:ext uri="{FF2B5EF4-FFF2-40B4-BE49-F238E27FC236}">
                <a16:creationId xmlns:a16="http://schemas.microsoft.com/office/drawing/2014/main" id="{918F6376-DD3C-4B57-8110-882BAD8F9A87}"/>
              </a:ext>
            </a:extLst>
          </p:cNvPr>
          <p:cNvSpPr>
            <a:spLocks noGrp="1"/>
          </p:cNvSpPr>
          <p:nvPr>
            <p:ph type="pic" sz="quarter" idx="13" hasCustomPrompt="1"/>
          </p:nvPr>
        </p:nvSpPr>
        <p:spPr>
          <a:xfrm>
            <a:off x="369094" y="6279356"/>
            <a:ext cx="1038599" cy="212725"/>
          </a:xfrm>
          <a: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noAutofit/>
          </a:bodyPr>
          <a:lstStyle>
            <a:lvl1pPr>
              <a:defRPr/>
            </a:lvl1pPr>
          </a:lstStyle>
          <a:p>
            <a:r>
              <a:rPr lang="en-US" dirty="0"/>
              <a:t> </a:t>
            </a:r>
          </a:p>
        </p:txBody>
      </p:sp>
      <p:sp>
        <p:nvSpPr>
          <p:cNvPr id="9" name="Foliennummernplatzhalter 8">
            <a:extLst>
              <a:ext uri="{FF2B5EF4-FFF2-40B4-BE49-F238E27FC236}">
                <a16:creationId xmlns:a16="http://schemas.microsoft.com/office/drawing/2014/main" id="{03E20AFD-9BCF-49CC-A074-9B0D704D7DB1}"/>
              </a:ext>
            </a:extLst>
          </p:cNvPr>
          <p:cNvSpPr>
            <a:spLocks noGrp="1"/>
          </p:cNvSpPr>
          <p:nvPr>
            <p:ph type="sldNum" sz="quarter" idx="15"/>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9502581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nhalt mit Foto 5">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5763443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7CC27BA-4153-486A-BB36-41E4CE098B16}"/>
              </a:ext>
            </a:extLst>
          </p:cNvPr>
          <p:cNvSpPr/>
          <p:nvPr userDrawn="1"/>
        </p:nvSpPr>
        <p:spPr bwMode="auto">
          <a:xfrm>
            <a:off x="6202674" y="4629029"/>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213587" y="188913"/>
            <a:ext cx="5791926" cy="6480175"/>
          </a:xfrm>
          <a:solidFill>
            <a:schemeClr val="accent3"/>
          </a:solid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7" name="Textplatzhalter 15">
            <a:extLst>
              <a:ext uri="{FF2B5EF4-FFF2-40B4-BE49-F238E27FC236}">
                <a16:creationId xmlns:a16="http://schemas.microsoft.com/office/drawing/2014/main" id="{F0EC5D95-E1FE-48B5-ACB1-D1BECA67733F}"/>
              </a:ext>
            </a:extLst>
          </p:cNvPr>
          <p:cNvSpPr>
            <a:spLocks noGrp="1"/>
          </p:cNvSpPr>
          <p:nvPr>
            <p:ph type="body" sz="quarter" idx="20"/>
          </p:nvPr>
        </p:nvSpPr>
        <p:spPr>
          <a:xfrm>
            <a:off x="6202674" y="4629029"/>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Rechteck 18">
            <a:extLst>
              <a:ext uri="{FF2B5EF4-FFF2-40B4-BE49-F238E27FC236}">
                <a16:creationId xmlns:a16="http://schemas.microsoft.com/office/drawing/2014/main" id="{39E91C94-4FDD-4169-B1DE-38DE2CD4E21B}"/>
              </a:ext>
            </a:extLst>
          </p:cNvPr>
          <p:cNvSpPr/>
          <p:nvPr userDrawn="1"/>
        </p:nvSpPr>
        <p:spPr bwMode="auto">
          <a:xfrm>
            <a:off x="6202674" y="188913"/>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Textplatzhalter 15">
            <a:extLst>
              <a:ext uri="{FF2B5EF4-FFF2-40B4-BE49-F238E27FC236}">
                <a16:creationId xmlns:a16="http://schemas.microsoft.com/office/drawing/2014/main" id="{D8507917-8760-4A47-ADC4-24880E79C2DB}"/>
              </a:ext>
            </a:extLst>
          </p:cNvPr>
          <p:cNvSpPr>
            <a:spLocks noGrp="1"/>
          </p:cNvSpPr>
          <p:nvPr>
            <p:ph type="body" sz="quarter" idx="21"/>
          </p:nvPr>
        </p:nvSpPr>
        <p:spPr>
          <a:xfrm>
            <a:off x="6202674" y="188913"/>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Bildplatzhalter 6">
            <a:extLst>
              <a:ext uri="{FF2B5EF4-FFF2-40B4-BE49-F238E27FC236}">
                <a16:creationId xmlns:a16="http://schemas.microsoft.com/office/drawing/2014/main" id="{64AAE6B5-132B-484A-A993-990C2BE73C5E}"/>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4" name="Titel 3">
            <a:extLst>
              <a:ext uri="{FF2B5EF4-FFF2-40B4-BE49-F238E27FC236}">
                <a16:creationId xmlns:a16="http://schemas.microsoft.com/office/drawing/2014/main" id="{67056B68-98FD-4B82-A543-0053D103A3FC}"/>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a:t>Mastertitelformat bearbeiten</a:t>
            </a:r>
            <a:endParaRPr lang="en-US" dirty="0"/>
          </a:p>
        </p:txBody>
      </p:sp>
      <p:sp>
        <p:nvSpPr>
          <p:cNvPr id="22" name="Rechteck 21">
            <a:extLst>
              <a:ext uri="{FF2B5EF4-FFF2-40B4-BE49-F238E27FC236}">
                <a16:creationId xmlns:a16="http://schemas.microsoft.com/office/drawing/2014/main" id="{436F3214-98E8-4531-8B07-7F0495DB094E}"/>
              </a:ext>
            </a:extLst>
          </p:cNvPr>
          <p:cNvSpPr/>
          <p:nvPr userDrawn="1"/>
        </p:nvSpPr>
        <p:spPr bwMode="auto">
          <a:xfrm>
            <a:off x="6202674" y="2408971"/>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Textplatzhalter 15">
            <a:extLst>
              <a:ext uri="{FF2B5EF4-FFF2-40B4-BE49-F238E27FC236}">
                <a16:creationId xmlns:a16="http://schemas.microsoft.com/office/drawing/2014/main" id="{8059B8EE-5398-4E65-9782-3FDDAA8848E7}"/>
              </a:ext>
            </a:extLst>
          </p:cNvPr>
          <p:cNvSpPr>
            <a:spLocks noGrp="1"/>
          </p:cNvSpPr>
          <p:nvPr>
            <p:ph type="body" sz="quarter" idx="22"/>
          </p:nvPr>
        </p:nvSpPr>
        <p:spPr>
          <a:xfrm>
            <a:off x="6202674" y="2408971"/>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238258564"/>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Inhalt mit Foto 5">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5763443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7CC27BA-4153-486A-BB36-41E4CE098B16}"/>
              </a:ext>
            </a:extLst>
          </p:cNvPr>
          <p:cNvSpPr/>
          <p:nvPr userDrawn="1"/>
        </p:nvSpPr>
        <p:spPr bwMode="auto">
          <a:xfrm>
            <a:off x="6202674" y="4629029"/>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213587" y="188913"/>
            <a:ext cx="5791926" cy="6480175"/>
          </a:xfrm>
          <a:solidFill>
            <a:schemeClr val="accent3"/>
          </a:solid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7" name="Textplatzhalter 15">
            <a:extLst>
              <a:ext uri="{FF2B5EF4-FFF2-40B4-BE49-F238E27FC236}">
                <a16:creationId xmlns:a16="http://schemas.microsoft.com/office/drawing/2014/main" id="{F0EC5D95-E1FE-48B5-ACB1-D1BECA67733F}"/>
              </a:ext>
            </a:extLst>
          </p:cNvPr>
          <p:cNvSpPr>
            <a:spLocks noGrp="1"/>
          </p:cNvSpPr>
          <p:nvPr>
            <p:ph type="body" sz="quarter" idx="20"/>
          </p:nvPr>
        </p:nvSpPr>
        <p:spPr>
          <a:xfrm>
            <a:off x="6202674" y="4629029"/>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Rechteck 18">
            <a:extLst>
              <a:ext uri="{FF2B5EF4-FFF2-40B4-BE49-F238E27FC236}">
                <a16:creationId xmlns:a16="http://schemas.microsoft.com/office/drawing/2014/main" id="{39E91C94-4FDD-4169-B1DE-38DE2CD4E21B}"/>
              </a:ext>
            </a:extLst>
          </p:cNvPr>
          <p:cNvSpPr/>
          <p:nvPr userDrawn="1"/>
        </p:nvSpPr>
        <p:spPr bwMode="auto">
          <a:xfrm>
            <a:off x="6202674" y="188913"/>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Textplatzhalter 15">
            <a:extLst>
              <a:ext uri="{FF2B5EF4-FFF2-40B4-BE49-F238E27FC236}">
                <a16:creationId xmlns:a16="http://schemas.microsoft.com/office/drawing/2014/main" id="{D8507917-8760-4A47-ADC4-24880E79C2DB}"/>
              </a:ext>
            </a:extLst>
          </p:cNvPr>
          <p:cNvSpPr>
            <a:spLocks noGrp="1"/>
          </p:cNvSpPr>
          <p:nvPr>
            <p:ph type="body" sz="quarter" idx="21"/>
          </p:nvPr>
        </p:nvSpPr>
        <p:spPr>
          <a:xfrm>
            <a:off x="6202674" y="188913"/>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Bildplatzhalter 6">
            <a:extLst>
              <a:ext uri="{FF2B5EF4-FFF2-40B4-BE49-F238E27FC236}">
                <a16:creationId xmlns:a16="http://schemas.microsoft.com/office/drawing/2014/main" id="{64AAE6B5-132B-484A-A993-990C2BE73C5E}"/>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4" name="Titel 3">
            <a:extLst>
              <a:ext uri="{FF2B5EF4-FFF2-40B4-BE49-F238E27FC236}">
                <a16:creationId xmlns:a16="http://schemas.microsoft.com/office/drawing/2014/main" id="{67056B68-98FD-4B82-A543-0053D103A3FC}"/>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a:t>Mastertitelformat bearbeiten</a:t>
            </a:r>
            <a:endParaRPr lang="en-US" dirty="0"/>
          </a:p>
        </p:txBody>
      </p:sp>
      <p:sp>
        <p:nvSpPr>
          <p:cNvPr id="22" name="Rechteck 21">
            <a:extLst>
              <a:ext uri="{FF2B5EF4-FFF2-40B4-BE49-F238E27FC236}">
                <a16:creationId xmlns:a16="http://schemas.microsoft.com/office/drawing/2014/main" id="{436F3214-98E8-4531-8B07-7F0495DB094E}"/>
              </a:ext>
            </a:extLst>
          </p:cNvPr>
          <p:cNvSpPr/>
          <p:nvPr userDrawn="1"/>
        </p:nvSpPr>
        <p:spPr bwMode="auto">
          <a:xfrm>
            <a:off x="6202674" y="2408971"/>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Textplatzhalter 15">
            <a:extLst>
              <a:ext uri="{FF2B5EF4-FFF2-40B4-BE49-F238E27FC236}">
                <a16:creationId xmlns:a16="http://schemas.microsoft.com/office/drawing/2014/main" id="{8059B8EE-5398-4E65-9782-3FDDAA8848E7}"/>
              </a:ext>
            </a:extLst>
          </p:cNvPr>
          <p:cNvSpPr>
            <a:spLocks noGrp="1"/>
          </p:cNvSpPr>
          <p:nvPr>
            <p:ph type="body" sz="quarter" idx="22"/>
          </p:nvPr>
        </p:nvSpPr>
        <p:spPr>
          <a:xfrm>
            <a:off x="6202674" y="2408971"/>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95487447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halt mit Foto 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8314286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196982" y="188913"/>
            <a:ext cx="7816148" cy="6480175"/>
          </a:xfrm>
          <a:solidFill>
            <a:schemeClr val="accent3"/>
          </a:solidFill>
        </p:spPr>
        <p:txBody>
          <a:bodyPr>
            <a:noAutofit/>
          </a:bodyPr>
          <a:lstStyle>
            <a:lvl1pPr>
              <a:defRPr/>
            </a:lvl1pPr>
          </a:lstStyle>
          <a:p>
            <a:r>
              <a:rPr lang="en-US" dirty="0"/>
              <a:t> </a:t>
            </a:r>
          </a:p>
        </p:txBody>
      </p:sp>
      <p:sp>
        <p:nvSpPr>
          <p:cNvPr id="18" name="Bildplatzhalter 6">
            <a:extLst>
              <a:ext uri="{FF2B5EF4-FFF2-40B4-BE49-F238E27FC236}">
                <a16:creationId xmlns:a16="http://schemas.microsoft.com/office/drawing/2014/main" id="{6C9A7E67-0E3A-4A64-9FA6-B2D1B5C7F768}"/>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8193129" y="188913"/>
            <a:ext cx="3818075"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8" cy="706311"/>
          </a:xfrm>
        </p:spPr>
        <p:txBody>
          <a:bodyPr vert="horz">
            <a:spAutoFit/>
          </a:bodyPr>
          <a:lstStyle>
            <a:lvl1pPr>
              <a:defRPr>
                <a:solidFill>
                  <a:schemeClr val="bg1"/>
                </a:solidFill>
              </a:defRPr>
            </a:lvl1pPr>
          </a:lstStyle>
          <a:p>
            <a:r>
              <a:rPr lang="de-DE"/>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8193129" y="188913"/>
            <a:ext cx="3818075"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212330163"/>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Inhalt mit Foto 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87064285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1" y="188913"/>
            <a:ext cx="3818075"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4195057" y="188913"/>
            <a:ext cx="7816148" cy="6480175"/>
          </a:xfrm>
          <a:solidFill>
            <a:schemeClr val="accent3"/>
          </a:solid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3818075" cy="1121809"/>
          </a:xfrm>
        </p:spPr>
        <p:txBody>
          <a:bodyPr vert="horz">
            <a:spAutoFit/>
          </a:bodyPr>
          <a:lstStyle>
            <a:lvl1pPr>
              <a:defRPr>
                <a:solidFill>
                  <a:schemeClr val="tx2"/>
                </a:solidFill>
              </a:defRPr>
            </a:lvl1pPr>
          </a:lstStyle>
          <a:p>
            <a:r>
              <a:rPr lang="de-DE"/>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1559777"/>
            <a:ext cx="3818075"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3" name="Grafik 46">
            <a:extLst>
              <a:ext uri="{FF2B5EF4-FFF2-40B4-BE49-F238E27FC236}">
                <a16:creationId xmlns:a16="http://schemas.microsoft.com/office/drawing/2014/main" id="{202A8F0B-AC33-4B9F-BDE7-6B6A0521FECB}"/>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350529210"/>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Inhalt mit Foto 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0249247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59B5E0DC-422F-43DD-BA99-0DA230D52EF3}"/>
              </a:ext>
            </a:extLst>
          </p:cNvPr>
          <p:cNvSpPr/>
          <p:nvPr userDrawn="1"/>
        </p:nvSpPr>
        <p:spPr bwMode="auto">
          <a:xfrm>
            <a:off x="8193129" y="3519000"/>
            <a:ext cx="3818075"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196982" y="188913"/>
            <a:ext cx="7816148" cy="6480175"/>
          </a:xfrm>
          <a:solidFill>
            <a:schemeClr val="accent3"/>
          </a:solidFill>
        </p:spPr>
        <p:txBody>
          <a:bodyPr>
            <a:noAutofit/>
          </a:bodyPr>
          <a:lstStyle>
            <a:lvl1pPr>
              <a:defRPr/>
            </a:lvl1pPr>
          </a:lstStyle>
          <a:p>
            <a:r>
              <a:rPr lang="en-US" dirty="0"/>
              <a:t> </a:t>
            </a:r>
          </a:p>
        </p:txBody>
      </p:sp>
      <p:sp>
        <p:nvSpPr>
          <p:cNvPr id="18" name="Bildplatzhalter 6">
            <a:extLst>
              <a:ext uri="{FF2B5EF4-FFF2-40B4-BE49-F238E27FC236}">
                <a16:creationId xmlns:a16="http://schemas.microsoft.com/office/drawing/2014/main" id="{6C9A7E67-0E3A-4A64-9FA6-B2D1B5C7F768}"/>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8" cy="706311"/>
          </a:xfrm>
        </p:spPr>
        <p:txBody>
          <a:bodyPr vert="horz">
            <a:spAutoFit/>
          </a:bodyPr>
          <a:lstStyle>
            <a:lvl1pPr>
              <a:defRPr>
                <a:solidFill>
                  <a:schemeClr val="bg1"/>
                </a:solidFill>
              </a:defRPr>
            </a:lvl1pPr>
          </a:lstStyle>
          <a:p>
            <a:r>
              <a:rPr lang="de-DE"/>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3" name="Rechteck 12">
            <a:extLst>
              <a:ext uri="{FF2B5EF4-FFF2-40B4-BE49-F238E27FC236}">
                <a16:creationId xmlns:a16="http://schemas.microsoft.com/office/drawing/2014/main" id="{1EDEF28B-882E-49ED-B2DD-3009F81527E1}"/>
              </a:ext>
            </a:extLst>
          </p:cNvPr>
          <p:cNvSpPr/>
          <p:nvPr userDrawn="1"/>
        </p:nvSpPr>
        <p:spPr bwMode="auto">
          <a:xfrm>
            <a:off x="8193129" y="188912"/>
            <a:ext cx="3818075"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Textplatzhalter 15">
            <a:extLst>
              <a:ext uri="{FF2B5EF4-FFF2-40B4-BE49-F238E27FC236}">
                <a16:creationId xmlns:a16="http://schemas.microsoft.com/office/drawing/2014/main" id="{EF6426DD-807F-4C54-B2D2-B3479D586731}"/>
              </a:ext>
            </a:extLst>
          </p:cNvPr>
          <p:cNvSpPr>
            <a:spLocks noGrp="1"/>
          </p:cNvSpPr>
          <p:nvPr>
            <p:ph type="body" sz="quarter" idx="18"/>
          </p:nvPr>
        </p:nvSpPr>
        <p:spPr>
          <a:xfrm>
            <a:off x="8193129" y="188913"/>
            <a:ext cx="3818075"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platzhalter 15">
            <a:extLst>
              <a:ext uri="{FF2B5EF4-FFF2-40B4-BE49-F238E27FC236}">
                <a16:creationId xmlns:a16="http://schemas.microsoft.com/office/drawing/2014/main" id="{A5F27AC5-3103-41E2-8C0A-C959D52CCCEA}"/>
              </a:ext>
            </a:extLst>
          </p:cNvPr>
          <p:cNvSpPr>
            <a:spLocks noGrp="1"/>
          </p:cNvSpPr>
          <p:nvPr>
            <p:ph type="body" sz="quarter" idx="20"/>
          </p:nvPr>
        </p:nvSpPr>
        <p:spPr>
          <a:xfrm>
            <a:off x="8193129" y="3519000"/>
            <a:ext cx="3818075"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529979307"/>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 mit Foto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52156134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Bildplatzhalter 6">
            <a:extLst>
              <a:ext uri="{FF2B5EF4-FFF2-40B4-BE49-F238E27FC236}">
                <a16:creationId xmlns:a16="http://schemas.microsoft.com/office/drawing/2014/main" id="{F0BEF310-0C23-4E2E-B70B-69B661AD05A6}"/>
              </a:ext>
            </a:extLst>
          </p:cNvPr>
          <p:cNvSpPr>
            <a:spLocks noGrp="1" noChangeAspect="1"/>
          </p:cNvSpPr>
          <p:nvPr>
            <p:ph type="pic" sz="quarter" idx="17" hasCustomPrompt="1"/>
          </p:nvPr>
        </p:nvSpPr>
        <p:spPr>
          <a:xfrm>
            <a:off x="213587" y="3519000"/>
            <a:ext cx="5800508" cy="3150088"/>
          </a:xfrm>
          <a:solidFill>
            <a:schemeClr val="accent3"/>
          </a:solidFill>
        </p:spPr>
        <p:txBody>
          <a:bodyPr>
            <a:noAutofit/>
          </a:bodyPr>
          <a:lstStyle>
            <a:lvl1pPr>
              <a:defRPr/>
            </a:lvl1pPr>
          </a:lstStyle>
          <a:p>
            <a:r>
              <a:rPr lang="en-US" dirty="0"/>
              <a:t> </a:t>
            </a:r>
          </a:p>
        </p:txBody>
      </p:sp>
      <p:sp>
        <p:nvSpPr>
          <p:cNvPr id="32" name="Rechteck 31">
            <a:extLst>
              <a:ext uri="{FF2B5EF4-FFF2-40B4-BE49-F238E27FC236}">
                <a16:creationId xmlns:a16="http://schemas.microsoft.com/office/drawing/2014/main" id="{57B8B345-5041-4C96-AF53-2790902268E1}"/>
              </a:ext>
            </a:extLst>
          </p:cNvPr>
          <p:cNvSpPr/>
          <p:nvPr userDrawn="1"/>
        </p:nvSpPr>
        <p:spPr bwMode="auto">
          <a:xfrm>
            <a:off x="6194094"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6194094"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17113" cy="315008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a:t>Mastertitelformat bearbeiten</a:t>
            </a: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9192648"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9192648"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3" name="Bildplatzhalter 6">
            <a:extLst>
              <a:ext uri="{FF2B5EF4-FFF2-40B4-BE49-F238E27FC236}">
                <a16:creationId xmlns:a16="http://schemas.microsoft.com/office/drawing/2014/main" id="{209EF3E5-4F5B-43E2-9A06-D9C1B6C577D2}"/>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15" name="Textplatzhalter 15">
            <a:extLst>
              <a:ext uri="{FF2B5EF4-FFF2-40B4-BE49-F238E27FC236}">
                <a16:creationId xmlns:a16="http://schemas.microsoft.com/office/drawing/2014/main" id="{C9EEAF33-9454-4E26-A0F3-0F78B82CDD9B}"/>
              </a:ext>
            </a:extLst>
          </p:cNvPr>
          <p:cNvSpPr>
            <a:spLocks noGrp="1"/>
          </p:cNvSpPr>
          <p:nvPr>
            <p:ph type="body" sz="quarter" idx="18"/>
          </p:nvPr>
        </p:nvSpPr>
        <p:spPr>
          <a:xfrm>
            <a:off x="9192648" y="188913"/>
            <a:ext cx="2818557"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extplatzhalter 15">
            <a:extLst>
              <a:ext uri="{FF2B5EF4-FFF2-40B4-BE49-F238E27FC236}">
                <a16:creationId xmlns:a16="http://schemas.microsoft.com/office/drawing/2014/main" id="{0A56ED20-7C85-4E71-9AA6-81C26B332E28}"/>
              </a:ext>
            </a:extLst>
          </p:cNvPr>
          <p:cNvSpPr>
            <a:spLocks noGrp="1"/>
          </p:cNvSpPr>
          <p:nvPr>
            <p:ph type="body" sz="quarter" idx="20"/>
          </p:nvPr>
        </p:nvSpPr>
        <p:spPr>
          <a:xfrm>
            <a:off x="9192648" y="3519000"/>
            <a:ext cx="2818557"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platzhalter 15">
            <a:extLst>
              <a:ext uri="{FF2B5EF4-FFF2-40B4-BE49-F238E27FC236}">
                <a16:creationId xmlns:a16="http://schemas.microsoft.com/office/drawing/2014/main" id="{92F67DE6-AA9B-4D2E-A851-F587BA328F17}"/>
              </a:ext>
            </a:extLst>
          </p:cNvPr>
          <p:cNvSpPr>
            <a:spLocks noGrp="1"/>
          </p:cNvSpPr>
          <p:nvPr>
            <p:ph type="body" sz="quarter" idx="21"/>
          </p:nvPr>
        </p:nvSpPr>
        <p:spPr>
          <a:xfrm>
            <a:off x="6194093" y="188913"/>
            <a:ext cx="2818557"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Textplatzhalter 15">
            <a:extLst>
              <a:ext uri="{FF2B5EF4-FFF2-40B4-BE49-F238E27FC236}">
                <a16:creationId xmlns:a16="http://schemas.microsoft.com/office/drawing/2014/main" id="{198EB1FD-F94F-43F3-8DDC-CAC52C27968B}"/>
              </a:ext>
            </a:extLst>
          </p:cNvPr>
          <p:cNvSpPr>
            <a:spLocks noGrp="1"/>
          </p:cNvSpPr>
          <p:nvPr>
            <p:ph type="body" sz="quarter" idx="22"/>
          </p:nvPr>
        </p:nvSpPr>
        <p:spPr>
          <a:xfrm>
            <a:off x="6194093" y="3519000"/>
            <a:ext cx="2818557" cy="1970982"/>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Textplatzhalter 15">
            <a:extLst>
              <a:ext uri="{FF2B5EF4-FFF2-40B4-BE49-F238E27FC236}">
                <a16:creationId xmlns:a16="http://schemas.microsoft.com/office/drawing/2014/main" id="{AE66E386-01DA-4D5A-9C22-24311764312E}"/>
              </a:ext>
            </a:extLst>
          </p:cNvPr>
          <p:cNvSpPr>
            <a:spLocks noGrp="1"/>
          </p:cNvSpPr>
          <p:nvPr>
            <p:ph type="body" sz="quarter" idx="23"/>
          </p:nvPr>
        </p:nvSpPr>
        <p:spPr>
          <a:xfrm>
            <a:off x="196982" y="1941889"/>
            <a:ext cx="5817113" cy="1397112"/>
          </a:xfrm>
        </p:spPr>
        <p:txBody>
          <a:bodyPr lIns="180000" tIns="136800" rIns="180000" bIns="180000" anchor="b"/>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4114799321"/>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nhalt mit Foto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74470566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Textplatzhalter 15">
            <a:extLst>
              <a:ext uri="{FF2B5EF4-FFF2-40B4-BE49-F238E27FC236}">
                <a16:creationId xmlns:a16="http://schemas.microsoft.com/office/drawing/2014/main" id="{C9EEAF33-9454-4E26-A0F3-0F78B82CDD9B}"/>
              </a:ext>
            </a:extLst>
          </p:cNvPr>
          <p:cNvSpPr>
            <a:spLocks noGrp="1"/>
          </p:cNvSpPr>
          <p:nvPr>
            <p:ph type="body" sz="quarter" idx="18"/>
          </p:nvPr>
        </p:nvSpPr>
        <p:spPr>
          <a:xfrm>
            <a:off x="6194094" y="1518137"/>
            <a:ext cx="5817111" cy="1152036"/>
          </a:xfrm>
          <a:solidFill>
            <a:schemeClr val="bg2"/>
          </a:solidFill>
        </p:spPr>
        <p:txBody>
          <a:bodyPr>
            <a:noAutofit/>
          </a:bodyPr>
          <a:lstStyle/>
          <a:p>
            <a:pPr lvl="0"/>
            <a:r>
              <a:rPr lang="de-DE"/>
              <a:t>Mastertextformat bearbeiten</a:t>
            </a:r>
          </a:p>
          <a:p>
            <a:pPr lvl="1"/>
            <a:r>
              <a:rPr lang="de-DE"/>
              <a:t>Zweite Ebene</a:t>
            </a:r>
          </a:p>
        </p:txBody>
      </p:sp>
      <p:sp>
        <p:nvSpPr>
          <p:cNvPr id="16" name="Textplatzhalter 15">
            <a:extLst>
              <a:ext uri="{FF2B5EF4-FFF2-40B4-BE49-F238E27FC236}">
                <a16:creationId xmlns:a16="http://schemas.microsoft.com/office/drawing/2014/main" id="{0A56ED20-7C85-4E71-9AA6-81C26B332E28}"/>
              </a:ext>
            </a:extLst>
          </p:cNvPr>
          <p:cNvSpPr>
            <a:spLocks noGrp="1"/>
          </p:cNvSpPr>
          <p:nvPr>
            <p:ph type="body" sz="quarter" idx="20"/>
          </p:nvPr>
        </p:nvSpPr>
        <p:spPr>
          <a:xfrm>
            <a:off x="6194094" y="4176587"/>
            <a:ext cx="5817111" cy="1152036"/>
          </a:xfrm>
          <a:solidFill>
            <a:schemeClr val="bg2"/>
          </a:solidFill>
        </p:spPr>
        <p:txBody>
          <a:bodyPr>
            <a:noAutofit/>
          </a:bodyPr>
          <a:lstStyle/>
          <a:p>
            <a:pPr lvl="0"/>
            <a:r>
              <a:rPr lang="de-DE"/>
              <a:t>Mastertextformat bearbeiten</a:t>
            </a:r>
          </a:p>
          <a:p>
            <a:pPr lvl="1"/>
            <a:r>
              <a:rPr lang="de-DE"/>
              <a:t>Zweite Ebene</a:t>
            </a:r>
          </a:p>
        </p:txBody>
      </p:sp>
      <p:sp>
        <p:nvSpPr>
          <p:cNvPr id="17" name="Textplatzhalter 15">
            <a:extLst>
              <a:ext uri="{FF2B5EF4-FFF2-40B4-BE49-F238E27FC236}">
                <a16:creationId xmlns:a16="http://schemas.microsoft.com/office/drawing/2014/main" id="{92F67DE6-AA9B-4D2E-A851-F587BA328F17}"/>
              </a:ext>
            </a:extLst>
          </p:cNvPr>
          <p:cNvSpPr>
            <a:spLocks noGrp="1"/>
          </p:cNvSpPr>
          <p:nvPr>
            <p:ph type="body" sz="quarter" idx="21"/>
          </p:nvPr>
        </p:nvSpPr>
        <p:spPr>
          <a:xfrm>
            <a:off x="6194094" y="188912"/>
            <a:ext cx="5817111" cy="1152036"/>
          </a:xfrm>
          <a:solidFill>
            <a:schemeClr val="bg2"/>
          </a:solidFill>
        </p:spPr>
        <p:txBody>
          <a:bodyPr>
            <a:noAutofit/>
          </a:bodyPr>
          <a:lstStyle/>
          <a:p>
            <a:pPr lvl="0"/>
            <a:r>
              <a:rPr lang="de-DE"/>
              <a:t>Mastertextformat bearbeiten</a:t>
            </a:r>
          </a:p>
          <a:p>
            <a:pPr lvl="1"/>
            <a:r>
              <a:rPr lang="de-DE"/>
              <a:t>Zweite Ebene</a:t>
            </a:r>
          </a:p>
        </p:txBody>
      </p:sp>
      <p:sp>
        <p:nvSpPr>
          <p:cNvPr id="18" name="Textplatzhalter 15">
            <a:extLst>
              <a:ext uri="{FF2B5EF4-FFF2-40B4-BE49-F238E27FC236}">
                <a16:creationId xmlns:a16="http://schemas.microsoft.com/office/drawing/2014/main" id="{198EB1FD-F94F-43F3-8DDC-CAC52C27968B}"/>
              </a:ext>
            </a:extLst>
          </p:cNvPr>
          <p:cNvSpPr>
            <a:spLocks noGrp="1"/>
          </p:cNvSpPr>
          <p:nvPr>
            <p:ph type="body" sz="quarter" idx="22"/>
          </p:nvPr>
        </p:nvSpPr>
        <p:spPr>
          <a:xfrm>
            <a:off x="6194094" y="2847362"/>
            <a:ext cx="5817111" cy="1152036"/>
          </a:xfrm>
          <a:solidFill>
            <a:schemeClr val="bg2"/>
          </a:solidFill>
        </p:spPr>
        <p:txBody>
          <a:bodyPr>
            <a:noAutofit/>
          </a:bodyPr>
          <a:lstStyle/>
          <a:p>
            <a:pPr lvl="0"/>
            <a:r>
              <a:rPr lang="de-DE"/>
              <a:t>Mastertextformat bearbeiten</a:t>
            </a:r>
          </a:p>
          <a:p>
            <a:pPr lvl="1"/>
            <a:r>
              <a:rPr lang="de-DE"/>
              <a:t>Zweite Ebene</a:t>
            </a:r>
          </a:p>
        </p:txBody>
      </p:sp>
      <p:sp>
        <p:nvSpPr>
          <p:cNvPr id="25" name="Textplatzhalter 15">
            <a:extLst>
              <a:ext uri="{FF2B5EF4-FFF2-40B4-BE49-F238E27FC236}">
                <a16:creationId xmlns:a16="http://schemas.microsoft.com/office/drawing/2014/main" id="{6DD8095E-B9FB-49E7-A614-769C756A2F98}"/>
              </a:ext>
            </a:extLst>
          </p:cNvPr>
          <p:cNvSpPr>
            <a:spLocks noGrp="1"/>
          </p:cNvSpPr>
          <p:nvPr>
            <p:ph type="body" sz="quarter" idx="24"/>
          </p:nvPr>
        </p:nvSpPr>
        <p:spPr>
          <a:xfrm>
            <a:off x="6194094" y="5505812"/>
            <a:ext cx="5817111" cy="1152036"/>
          </a:xfrm>
          <a:solidFill>
            <a:schemeClr val="bg2"/>
          </a:solidFill>
        </p:spPr>
        <p:txBody>
          <a:bodyPr>
            <a:noAutofit/>
          </a:bodyPr>
          <a:lstStyle/>
          <a:p>
            <a:pPr lvl="0"/>
            <a:r>
              <a:rPr lang="de-DE"/>
              <a:t>Mastertextformat bearbeiten</a:t>
            </a:r>
          </a:p>
          <a:p>
            <a:pPr lvl="1"/>
            <a:r>
              <a:rPr lang="de-DE"/>
              <a:t>Zweite Ebene</a:t>
            </a:r>
          </a:p>
        </p:txBody>
      </p:sp>
      <p:sp>
        <p:nvSpPr>
          <p:cNvPr id="12" name="Bildplatzhalter 6">
            <a:extLst>
              <a:ext uri="{FF2B5EF4-FFF2-40B4-BE49-F238E27FC236}">
                <a16:creationId xmlns:a16="http://schemas.microsoft.com/office/drawing/2014/main" id="{F0BEF310-0C23-4E2E-B70B-69B661AD05A6}"/>
              </a:ext>
            </a:extLst>
          </p:cNvPr>
          <p:cNvSpPr>
            <a:spLocks noGrp="1" noChangeAspect="1"/>
          </p:cNvSpPr>
          <p:nvPr>
            <p:ph type="pic" sz="quarter" idx="17" hasCustomPrompt="1"/>
          </p:nvPr>
        </p:nvSpPr>
        <p:spPr>
          <a:xfrm>
            <a:off x="213587" y="3519000"/>
            <a:ext cx="5800508" cy="3150088"/>
          </a:xfrm>
          <a:solidFill>
            <a:schemeClr val="accent3"/>
          </a:solid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17113" cy="315008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3" name="Bildplatzhalter 6">
            <a:extLst>
              <a:ext uri="{FF2B5EF4-FFF2-40B4-BE49-F238E27FC236}">
                <a16:creationId xmlns:a16="http://schemas.microsoft.com/office/drawing/2014/main" id="{209EF3E5-4F5B-43E2-9A06-D9C1B6C577D2}"/>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19" name="Textplatzhalter 15">
            <a:extLst>
              <a:ext uri="{FF2B5EF4-FFF2-40B4-BE49-F238E27FC236}">
                <a16:creationId xmlns:a16="http://schemas.microsoft.com/office/drawing/2014/main" id="{AE66E386-01DA-4D5A-9C22-24311764312E}"/>
              </a:ext>
            </a:extLst>
          </p:cNvPr>
          <p:cNvSpPr>
            <a:spLocks noGrp="1"/>
          </p:cNvSpPr>
          <p:nvPr>
            <p:ph type="body" sz="quarter" idx="23"/>
          </p:nvPr>
        </p:nvSpPr>
        <p:spPr>
          <a:xfrm>
            <a:off x="196982" y="1941889"/>
            <a:ext cx="5817113" cy="1397112"/>
          </a:xfrm>
        </p:spPr>
        <p:txBody>
          <a:bodyPr lIns="180000" tIns="136800" rIns="180000" bIns="180000" anchor="b"/>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439981584"/>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Inhalt mit Foto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2562961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Bildplatzhalter 6">
            <a:extLst>
              <a:ext uri="{FF2B5EF4-FFF2-40B4-BE49-F238E27FC236}">
                <a16:creationId xmlns:a16="http://schemas.microsoft.com/office/drawing/2014/main" id="{F0BEF310-0C23-4E2E-B70B-69B661AD05A6}"/>
              </a:ext>
            </a:extLst>
          </p:cNvPr>
          <p:cNvSpPr>
            <a:spLocks noGrp="1" noChangeAspect="1"/>
          </p:cNvSpPr>
          <p:nvPr>
            <p:ph type="pic" sz="quarter" idx="17" hasCustomPrompt="1"/>
          </p:nvPr>
        </p:nvSpPr>
        <p:spPr>
          <a:xfrm>
            <a:off x="213587" y="188912"/>
            <a:ext cx="5800508" cy="6480175"/>
          </a:xfrm>
          <a:solidFill>
            <a:schemeClr val="accent3"/>
          </a:solidFill>
        </p:spPr>
        <p:txBody>
          <a:bodyPr>
            <a:noAutofit/>
          </a:bodyPr>
          <a:lstStyle>
            <a:lvl1pPr>
              <a:defRPr/>
            </a:lvl1pPr>
          </a:lstStyle>
          <a:p>
            <a:r>
              <a:rPr lang="en-US" dirty="0"/>
              <a:t> </a:t>
            </a:r>
          </a:p>
        </p:txBody>
      </p:sp>
      <p:sp>
        <p:nvSpPr>
          <p:cNvPr id="32" name="Rechteck 31">
            <a:extLst>
              <a:ext uri="{FF2B5EF4-FFF2-40B4-BE49-F238E27FC236}">
                <a16:creationId xmlns:a16="http://schemas.microsoft.com/office/drawing/2014/main" id="{57B8B345-5041-4C96-AF53-2790902268E1}"/>
              </a:ext>
            </a:extLst>
          </p:cNvPr>
          <p:cNvSpPr>
            <a:spLocks/>
          </p:cNvSpPr>
          <p:nvPr userDrawn="1"/>
        </p:nvSpPr>
        <p:spPr bwMode="auto">
          <a:xfrm>
            <a:off x="6194094"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6194094"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17113" cy="706311"/>
          </a:xfrm>
          <a:noFill/>
        </p:spPr>
        <p:txBody>
          <a:bodyPr vert="horz">
            <a:spAutoFit/>
          </a:bodyPr>
          <a:lstStyle>
            <a:lvl1pPr>
              <a:defRPr>
                <a:solidFill>
                  <a:schemeClr val="bg1"/>
                </a:solidFill>
              </a:defRPr>
            </a:lvl1pPr>
          </a:lstStyle>
          <a:p>
            <a:r>
              <a:rPr lang="de-DE"/>
              <a:t>Mastertitelformat bearbeiten</a:t>
            </a: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9192648"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9192648"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3" name="Bildplatzhalter 6">
            <a:extLst>
              <a:ext uri="{FF2B5EF4-FFF2-40B4-BE49-F238E27FC236}">
                <a16:creationId xmlns:a16="http://schemas.microsoft.com/office/drawing/2014/main" id="{209EF3E5-4F5B-43E2-9A06-D9C1B6C577D2}"/>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
        <p:nvSpPr>
          <p:cNvPr id="15" name="Textplatzhalter 15">
            <a:extLst>
              <a:ext uri="{FF2B5EF4-FFF2-40B4-BE49-F238E27FC236}">
                <a16:creationId xmlns:a16="http://schemas.microsoft.com/office/drawing/2014/main" id="{C9EEAF33-9454-4E26-A0F3-0F78B82CDD9B}"/>
              </a:ext>
            </a:extLst>
          </p:cNvPr>
          <p:cNvSpPr>
            <a:spLocks noGrp="1"/>
          </p:cNvSpPr>
          <p:nvPr>
            <p:ph type="body" sz="quarter" idx="18"/>
          </p:nvPr>
        </p:nvSpPr>
        <p:spPr>
          <a:xfrm>
            <a:off x="9192648" y="188913"/>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extplatzhalter 15">
            <a:extLst>
              <a:ext uri="{FF2B5EF4-FFF2-40B4-BE49-F238E27FC236}">
                <a16:creationId xmlns:a16="http://schemas.microsoft.com/office/drawing/2014/main" id="{0A56ED20-7C85-4E71-9AA6-81C26B332E28}"/>
              </a:ext>
            </a:extLst>
          </p:cNvPr>
          <p:cNvSpPr>
            <a:spLocks noGrp="1"/>
          </p:cNvSpPr>
          <p:nvPr>
            <p:ph type="body" sz="quarter" idx="20"/>
          </p:nvPr>
        </p:nvSpPr>
        <p:spPr>
          <a:xfrm>
            <a:off x="9192648" y="3519000"/>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platzhalter 15">
            <a:extLst>
              <a:ext uri="{FF2B5EF4-FFF2-40B4-BE49-F238E27FC236}">
                <a16:creationId xmlns:a16="http://schemas.microsoft.com/office/drawing/2014/main" id="{92F67DE6-AA9B-4D2E-A851-F587BA328F17}"/>
              </a:ext>
            </a:extLst>
          </p:cNvPr>
          <p:cNvSpPr>
            <a:spLocks noGrp="1"/>
          </p:cNvSpPr>
          <p:nvPr>
            <p:ph type="body" sz="quarter" idx="21"/>
          </p:nvPr>
        </p:nvSpPr>
        <p:spPr>
          <a:xfrm>
            <a:off x="6194093" y="188913"/>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Textplatzhalter 15">
            <a:extLst>
              <a:ext uri="{FF2B5EF4-FFF2-40B4-BE49-F238E27FC236}">
                <a16:creationId xmlns:a16="http://schemas.microsoft.com/office/drawing/2014/main" id="{198EB1FD-F94F-43F3-8DDC-CAC52C27968B}"/>
              </a:ext>
            </a:extLst>
          </p:cNvPr>
          <p:cNvSpPr>
            <a:spLocks noGrp="1"/>
          </p:cNvSpPr>
          <p:nvPr>
            <p:ph type="body" sz="quarter" idx="22"/>
          </p:nvPr>
        </p:nvSpPr>
        <p:spPr>
          <a:xfrm>
            <a:off x="6194093" y="3519000"/>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4118017814"/>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Inhalt mit Foto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2562961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Bildplatzhalter 6">
            <a:extLst>
              <a:ext uri="{FF2B5EF4-FFF2-40B4-BE49-F238E27FC236}">
                <a16:creationId xmlns:a16="http://schemas.microsoft.com/office/drawing/2014/main" id="{F0BEF310-0C23-4E2E-B70B-69B661AD05A6}"/>
              </a:ext>
            </a:extLst>
          </p:cNvPr>
          <p:cNvSpPr>
            <a:spLocks noGrp="1" noChangeAspect="1"/>
          </p:cNvSpPr>
          <p:nvPr>
            <p:ph type="pic" sz="quarter" idx="17" hasCustomPrompt="1"/>
          </p:nvPr>
        </p:nvSpPr>
        <p:spPr>
          <a:xfrm>
            <a:off x="213587" y="188912"/>
            <a:ext cx="5800508" cy="6480175"/>
          </a:xfrm>
          <a:solidFill>
            <a:schemeClr val="accent3"/>
          </a:solidFill>
        </p:spPr>
        <p:txBody>
          <a:bodyPr>
            <a:noAutofit/>
          </a:bodyPr>
          <a:lstStyle>
            <a:lvl1pPr>
              <a:defRPr/>
            </a:lvl1pPr>
          </a:lstStyle>
          <a:p>
            <a:r>
              <a:rPr lang="en-US" dirty="0"/>
              <a:t> </a:t>
            </a:r>
          </a:p>
        </p:txBody>
      </p:sp>
      <p:sp>
        <p:nvSpPr>
          <p:cNvPr id="32" name="Rechteck 31">
            <a:extLst>
              <a:ext uri="{FF2B5EF4-FFF2-40B4-BE49-F238E27FC236}">
                <a16:creationId xmlns:a16="http://schemas.microsoft.com/office/drawing/2014/main" id="{57B8B345-5041-4C96-AF53-2790902268E1}"/>
              </a:ext>
            </a:extLst>
          </p:cNvPr>
          <p:cNvSpPr>
            <a:spLocks/>
          </p:cNvSpPr>
          <p:nvPr userDrawn="1"/>
        </p:nvSpPr>
        <p:spPr bwMode="auto">
          <a:xfrm>
            <a:off x="6194094" y="188912"/>
            <a:ext cx="581711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6194094"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17113" cy="706311"/>
          </a:xfrm>
          <a:noFill/>
        </p:spPr>
        <p:txBody>
          <a:bodyPr vert="horz">
            <a:spAutoFit/>
          </a:bodyPr>
          <a:lstStyle>
            <a:lvl1pPr>
              <a:defRPr>
                <a:solidFill>
                  <a:schemeClr val="bg1"/>
                </a:solidFill>
              </a:defRPr>
            </a:lvl1pPr>
          </a:lstStyle>
          <a:p>
            <a:r>
              <a:rPr lang="de-DE"/>
              <a:t>Mastertitelformat bearbeiten</a:t>
            </a:r>
            <a:endParaRPr lang="en-US" dirty="0"/>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9192648"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0A56ED20-7C85-4E71-9AA6-81C26B332E28}"/>
              </a:ext>
            </a:extLst>
          </p:cNvPr>
          <p:cNvSpPr>
            <a:spLocks noGrp="1"/>
          </p:cNvSpPr>
          <p:nvPr>
            <p:ph type="body" sz="quarter" idx="20"/>
          </p:nvPr>
        </p:nvSpPr>
        <p:spPr>
          <a:xfrm>
            <a:off x="9192648" y="3519000"/>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platzhalter 15">
            <a:extLst>
              <a:ext uri="{FF2B5EF4-FFF2-40B4-BE49-F238E27FC236}">
                <a16:creationId xmlns:a16="http://schemas.microsoft.com/office/drawing/2014/main" id="{92F67DE6-AA9B-4D2E-A851-F587BA328F17}"/>
              </a:ext>
            </a:extLst>
          </p:cNvPr>
          <p:cNvSpPr>
            <a:spLocks noGrp="1"/>
          </p:cNvSpPr>
          <p:nvPr>
            <p:ph type="body" sz="quarter" idx="21"/>
          </p:nvPr>
        </p:nvSpPr>
        <p:spPr>
          <a:xfrm>
            <a:off x="6194092" y="188913"/>
            <a:ext cx="5817112" cy="1309262"/>
          </a:xfrm>
        </p:spPr>
        <p:txBody>
          <a:bodyPr>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Textplatzhalter 15">
            <a:extLst>
              <a:ext uri="{FF2B5EF4-FFF2-40B4-BE49-F238E27FC236}">
                <a16:creationId xmlns:a16="http://schemas.microsoft.com/office/drawing/2014/main" id="{198EB1FD-F94F-43F3-8DDC-CAC52C27968B}"/>
              </a:ext>
            </a:extLst>
          </p:cNvPr>
          <p:cNvSpPr>
            <a:spLocks noGrp="1"/>
          </p:cNvSpPr>
          <p:nvPr>
            <p:ph type="body" sz="quarter" idx="22"/>
          </p:nvPr>
        </p:nvSpPr>
        <p:spPr>
          <a:xfrm>
            <a:off x="6194093" y="3519000"/>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Bildplatzhalter 6">
            <a:extLst>
              <a:ext uri="{FF2B5EF4-FFF2-40B4-BE49-F238E27FC236}">
                <a16:creationId xmlns:a16="http://schemas.microsoft.com/office/drawing/2014/main" id="{AEFE8E34-C199-4A1E-8244-35883AFA8695}"/>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noAutofit/>
          </a:bodyPr>
          <a:lstStyle>
            <a:lvl1pPr>
              <a:defRPr/>
            </a:lvl1pPr>
          </a:lstStyle>
          <a:p>
            <a:r>
              <a:rPr lang="en-US" dirty="0"/>
              <a:t> </a:t>
            </a:r>
          </a:p>
        </p:txBody>
      </p:sp>
    </p:spTree>
    <p:extLst>
      <p:ext uri="{BB962C8B-B14F-4D97-AF65-F5344CB8AC3E}">
        <p14:creationId xmlns:p14="http://schemas.microsoft.com/office/powerpoint/2010/main" val="3406142245"/>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chlussfolie_bl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4022633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252DA38F-1A8E-4D40-AECF-BCEAA3DEBF5A}"/>
              </a:ext>
            </a:extLst>
          </p:cNvPr>
          <p:cNvSpPr/>
          <p:nvPr userDrawn="1"/>
        </p:nvSpPr>
        <p:spPr bwMode="auto">
          <a:xfrm>
            <a:off x="197400" y="188913"/>
            <a:ext cx="11797200" cy="64801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bg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094" y="6279356"/>
            <a:ext cx="1038599" cy="212725"/>
          </a:xfrm>
          <a:prstGeom prst="rect">
            <a:avLst/>
          </a:prstGeom>
        </p:spPr>
      </p:pic>
      <p:sp>
        <p:nvSpPr>
          <p:cNvPr id="14" name="Titel 12">
            <a:extLst>
              <a:ext uri="{FF2B5EF4-FFF2-40B4-BE49-F238E27FC236}">
                <a16:creationId xmlns:a16="http://schemas.microsoft.com/office/drawing/2014/main" id="{A54B1FFB-86F2-47DC-BB83-3E513C8791D4}"/>
              </a:ext>
            </a:extLst>
          </p:cNvPr>
          <p:cNvSpPr txBox="1">
            <a:spLocks/>
          </p:cNvSpPr>
          <p:nvPr userDrawn="1"/>
        </p:nvSpPr>
        <p:spPr bwMode="auto">
          <a:xfrm>
            <a:off x="7060548" y="2357768"/>
            <a:ext cx="2175893" cy="41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180000" tIns="0" rIns="0" bIns="0" numCol="1" anchor="t" anchorCtr="0" compatLnSpc="1">
            <a:prstTxWarp prst="textNoShape">
              <a:avLst/>
            </a:prstTxWarp>
            <a:sp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r>
              <a:rPr lang="de-DE" kern="0" dirty="0"/>
              <a:t>Vielen Dank!</a:t>
            </a:r>
            <a:endParaRPr lang="en-US" kern="0" dirty="0"/>
          </a:p>
        </p:txBody>
      </p:sp>
    </p:spTree>
    <p:extLst>
      <p:ext uri="{BB962C8B-B14F-4D97-AF65-F5344CB8AC3E}">
        <p14:creationId xmlns:p14="http://schemas.microsoft.com/office/powerpoint/2010/main" val="3612637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23871560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11798036" cy="6480175"/>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p>
            <a:pPr lvl="0" fontAlgn="base">
              <a:lnSpc>
                <a:spcPct val="100000"/>
              </a:lnSpc>
              <a:spcBef>
                <a:spcPct val="0"/>
              </a:spcBef>
              <a:spcAft>
                <a:spcPct val="0"/>
              </a:spcAft>
            </a:pPr>
            <a:endParaRPr lang="en-US" sz="2700" dirty="0" err="1">
              <a:solidFill>
                <a:schemeClr val="bg1"/>
              </a:solidFill>
              <a:latin typeface="+mj-lt"/>
              <a:ea typeface="+mj-ea"/>
              <a:cs typeface="+mj-cs"/>
            </a:endParaRPr>
          </a:p>
        </p:txBody>
      </p:sp>
      <p:sp>
        <p:nvSpPr>
          <p:cNvPr id="10" name="Textplatzhalter 9"/>
          <p:cNvSpPr>
            <a:spLocks noGrp="1"/>
          </p:cNvSpPr>
          <p:nvPr>
            <p:ph type="body" sz="quarter" idx="14" hasCustomPrompt="1"/>
          </p:nvPr>
        </p:nvSpPr>
        <p:spPr>
          <a:xfrm>
            <a:off x="943509" y="6365921"/>
            <a:ext cx="6371690" cy="123111"/>
          </a:xfrm>
        </p:spPr>
        <p:txBody>
          <a:bodyPr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2" name="Titel 1">
            <a:extLst>
              <a:ext uri="{FF2B5EF4-FFF2-40B4-BE49-F238E27FC236}">
                <a16:creationId xmlns:a16="http://schemas.microsoft.com/office/drawing/2014/main" id="{3CCB463D-8832-453C-B6A4-A4CE5A4AD15F}"/>
              </a:ext>
            </a:extLst>
          </p:cNvPr>
          <p:cNvSpPr>
            <a:spLocks noGrp="1"/>
          </p:cNvSpPr>
          <p:nvPr>
            <p:ph type="title"/>
          </p:nvPr>
        </p:nvSpPr>
        <p:spPr/>
        <p:txBody>
          <a:bodyPr vert="horz"/>
          <a:lstStyle>
            <a:lvl1pPr>
              <a:defRPr>
                <a:solidFill>
                  <a:schemeClr val="bg1"/>
                </a:solidFill>
              </a:defRPr>
            </a:lvl1pPr>
          </a:lstStyle>
          <a:p>
            <a:r>
              <a:rPr lang="de-DE"/>
              <a:t>Mastertitelformat bearbeiten</a:t>
            </a:r>
            <a:endParaRPr lang="en-US" dirty="0"/>
          </a:p>
        </p:txBody>
      </p:sp>
    </p:spTree>
    <p:extLst>
      <p:ext uri="{BB962C8B-B14F-4D97-AF65-F5344CB8AC3E}">
        <p14:creationId xmlns:p14="http://schemas.microsoft.com/office/powerpoint/2010/main" val="3333813865"/>
      </p:ext>
    </p:extLst>
  </p:cSld>
  <p:clrMapOvr>
    <a:masterClrMapping/>
  </p:clrMapOvr>
  <p:extLst>
    <p:ext uri="{DCECCB84-F9BA-43D5-87BE-67443E8EF086}">
      <p15:sldGuideLst xmlns:p15="http://schemas.microsoft.com/office/powerpoint/2012/main">
        <p15:guide id="1" orient="horz" pos="109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chlussfolie_bl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4022633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252DA38F-1A8E-4D40-AECF-BCEAA3DEBF5A}"/>
              </a:ext>
            </a:extLst>
          </p:cNvPr>
          <p:cNvSpPr/>
          <p:nvPr userDrawn="1"/>
        </p:nvSpPr>
        <p:spPr bwMode="auto">
          <a:xfrm>
            <a:off x="197400" y="188913"/>
            <a:ext cx="11797200" cy="64801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bg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094" y="6279356"/>
            <a:ext cx="1038599" cy="212725"/>
          </a:xfrm>
          <a:prstGeom prst="rect">
            <a:avLst/>
          </a:prstGeom>
        </p:spPr>
      </p:pic>
      <p:sp>
        <p:nvSpPr>
          <p:cNvPr id="14" name="Titel 12">
            <a:extLst>
              <a:ext uri="{FF2B5EF4-FFF2-40B4-BE49-F238E27FC236}">
                <a16:creationId xmlns:a16="http://schemas.microsoft.com/office/drawing/2014/main" id="{A54B1FFB-86F2-47DC-BB83-3E513C8791D4}"/>
              </a:ext>
            </a:extLst>
          </p:cNvPr>
          <p:cNvSpPr txBox="1">
            <a:spLocks/>
          </p:cNvSpPr>
          <p:nvPr userDrawn="1"/>
        </p:nvSpPr>
        <p:spPr bwMode="auto">
          <a:xfrm>
            <a:off x="7060548" y="2357768"/>
            <a:ext cx="1847278" cy="8309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180000" tIns="0" rIns="0" bIns="0" numCol="1" anchor="t" anchorCtr="0" compatLnSpc="1">
            <a:prstTxWarp prst="textNoShape">
              <a:avLst/>
            </a:prstTxWarp>
            <a:sp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r>
              <a:rPr lang="de-DE" kern="0" dirty="0"/>
              <a:t>Die Kraft</a:t>
            </a:r>
            <a:br>
              <a:rPr lang="de-DE" kern="0" dirty="0"/>
            </a:br>
            <a:r>
              <a:rPr lang="de-DE" kern="0" dirty="0"/>
              <a:t>der Wende</a:t>
            </a:r>
            <a:endParaRPr lang="en-US" kern="0" dirty="0"/>
          </a:p>
        </p:txBody>
      </p:sp>
    </p:spTree>
    <p:extLst>
      <p:ext uri="{BB962C8B-B14F-4D97-AF65-F5344CB8AC3E}">
        <p14:creationId xmlns:p14="http://schemas.microsoft.com/office/powerpoint/2010/main" val="21368204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chlussfolie_Foto">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245239978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0112F1E6-4019-46DF-8875-641EC151FE39}"/>
              </a:ext>
            </a:extLst>
          </p:cNvPr>
          <p:cNvSpPr>
            <a:spLocks noGrp="1" noChangeAspect="1"/>
          </p:cNvSpPr>
          <p:nvPr>
            <p:ph type="pic" sz="quarter" idx="14" hasCustomPrompt="1"/>
          </p:nvPr>
        </p:nvSpPr>
        <p:spPr>
          <a:xfrm>
            <a:off x="197400" y="188913"/>
            <a:ext cx="11797200" cy="6480175"/>
          </a:xfrm>
          <a:solidFill>
            <a:schemeClr val="accent3"/>
          </a:solidFill>
        </p:spPr>
        <p:txBody>
          <a:bodyPr>
            <a:noAutofit/>
          </a:bodyPr>
          <a:lstStyle>
            <a:lvl1pPr>
              <a:defRPr/>
            </a:lvl1pPr>
          </a:lstStyle>
          <a:p>
            <a:r>
              <a:rPr lang="en-US" dirty="0"/>
              <a:t> </a:t>
            </a:r>
          </a:p>
        </p:txBody>
      </p:sp>
      <p:sp>
        <p:nvSpPr>
          <p:cNvPr id="7" name="Bildplatzhalter 6">
            <a:extLst>
              <a:ext uri="{FF2B5EF4-FFF2-40B4-BE49-F238E27FC236}">
                <a16:creationId xmlns:a16="http://schemas.microsoft.com/office/drawing/2014/main" id="{F0DD0F9B-2A10-4506-92DB-AB3871E01634}"/>
              </a:ext>
            </a:extLst>
          </p:cNvPr>
          <p:cNvSpPr>
            <a:spLocks noGrp="1"/>
          </p:cNvSpPr>
          <p:nvPr>
            <p:ph type="pic" sz="quarter" idx="12" hasCustomPrompt="1"/>
          </p:nvPr>
        </p:nvSpPr>
        <p:spPr>
          <a:xfrm>
            <a:off x="5131453" y="2450298"/>
            <a:ext cx="1929095" cy="1957404"/>
          </a:xfrm>
          <a: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noAutofit/>
          </a:bodyPr>
          <a:lstStyle>
            <a:lvl1pPr>
              <a:defRPr/>
            </a:lvl1pPr>
          </a:lstStyle>
          <a:p>
            <a:r>
              <a:rPr lang="en-US" dirty="0"/>
              <a:t> </a:t>
            </a: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7" name="Bildplatzhalter 6">
            <a:extLst>
              <a:ext uri="{FF2B5EF4-FFF2-40B4-BE49-F238E27FC236}">
                <a16:creationId xmlns:a16="http://schemas.microsoft.com/office/drawing/2014/main" id="{918F6376-DD3C-4B57-8110-882BAD8F9A87}"/>
              </a:ext>
            </a:extLst>
          </p:cNvPr>
          <p:cNvSpPr>
            <a:spLocks noGrp="1"/>
          </p:cNvSpPr>
          <p:nvPr>
            <p:ph type="pic" sz="quarter" idx="13" hasCustomPrompt="1"/>
          </p:nvPr>
        </p:nvSpPr>
        <p:spPr>
          <a:xfrm>
            <a:off x="369094" y="6279356"/>
            <a:ext cx="1038599" cy="212725"/>
          </a:xfrm>
          <a: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noAutofit/>
          </a:bodyPr>
          <a:lstStyle>
            <a:lvl1pPr>
              <a:defRPr/>
            </a:lvl1pPr>
          </a:lstStyle>
          <a:p>
            <a:r>
              <a:rPr lang="en-US" dirty="0"/>
              <a:t> </a:t>
            </a:r>
          </a:p>
        </p:txBody>
      </p:sp>
      <p:sp>
        <p:nvSpPr>
          <p:cNvPr id="6" name="Titel 5">
            <a:extLst>
              <a:ext uri="{FF2B5EF4-FFF2-40B4-BE49-F238E27FC236}">
                <a16:creationId xmlns:a16="http://schemas.microsoft.com/office/drawing/2014/main" id="{B7BB6D09-D7FE-4929-8143-9A157CE7A306}"/>
              </a:ext>
            </a:extLst>
          </p:cNvPr>
          <p:cNvSpPr>
            <a:spLocks noGrp="1"/>
          </p:cNvSpPr>
          <p:nvPr>
            <p:ph type="title" hasCustomPrompt="1"/>
          </p:nvPr>
        </p:nvSpPr>
        <p:spPr>
          <a:xfrm>
            <a:off x="196982" y="188913"/>
            <a:ext cx="5808531" cy="706311"/>
          </a:xfrm>
        </p:spPr>
        <p:txBody>
          <a:bodyPr vert="horz">
            <a:spAutoFit/>
          </a:bodyPr>
          <a:lstStyle>
            <a:lvl1pPr>
              <a:defRPr>
                <a:solidFill>
                  <a:schemeClr val="bg1"/>
                </a:solidFill>
              </a:defRPr>
            </a:lvl1pPr>
          </a:lstStyle>
          <a:p>
            <a:r>
              <a:rPr lang="de-DE" dirty="0"/>
              <a:t>Vielen Dank!</a:t>
            </a:r>
            <a:endParaRPr lang="en-US" dirty="0"/>
          </a:p>
        </p:txBody>
      </p:sp>
    </p:spTree>
    <p:extLst>
      <p:ext uri="{BB962C8B-B14F-4D97-AF65-F5344CB8AC3E}">
        <p14:creationId xmlns:p14="http://schemas.microsoft.com/office/powerpoint/2010/main" val="36321773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_Titel und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3" imgW="353" imgH="354" progId="TCLayout.ActiveDocument.1">
                  <p:embed/>
                </p:oleObj>
              </mc:Choice>
              <mc:Fallback>
                <p:oleObj name="think-cell Folie" r:id="rId3" imgW="353" imgH="354" progId="TCLayout.ActiveDocument.1">
                  <p:embed/>
                  <p:pic>
                    <p:nvPicPr>
                      <p:cNvPr id="5" name="Objekt 4"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3" name="Inhaltsplatzhalter 2"/>
          <p:cNvSpPr>
            <a:spLocks noGrp="1"/>
          </p:cNvSpPr>
          <p:nvPr>
            <p:ph idx="1" hasCustomPrompt="1"/>
          </p:nvPr>
        </p:nvSpPr>
        <p:spPr>
          <a:xfrm>
            <a:off x="616025" y="1613537"/>
            <a:ext cx="10346192" cy="4624687"/>
          </a:xfrm>
        </p:spPr>
        <p:txBody>
          <a:bodyPr lIns="0" rIns="0">
            <a:normAutofit/>
          </a:bodyPr>
          <a:lstStyle>
            <a:lvl1pPr>
              <a:defRPr sz="1600"/>
            </a:lvl1pPr>
            <a:lvl2pPr>
              <a:defRPr sz="1500"/>
            </a:lvl2pPr>
            <a:lvl3pPr>
              <a:defRPr sz="1400"/>
            </a:lvl3pPr>
            <a:lvl4pPr>
              <a:defRPr sz="1200"/>
            </a:lvl4pPr>
            <a:lvl5pPr>
              <a:defRPr sz="1200"/>
            </a:lvl5pPr>
          </a:lstStyle>
          <a:p>
            <a:pPr lvl="0"/>
            <a:r>
              <a:rPr lang="de-AT" dirty="0"/>
              <a:t>Textmasterformat durch Klicken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 name="Datumsplatzhalter 3"/>
          <p:cNvSpPr>
            <a:spLocks noGrp="1"/>
          </p:cNvSpPr>
          <p:nvPr>
            <p:ph type="dt" sz="half" idx="10"/>
          </p:nvPr>
        </p:nvSpPr>
        <p:spPr>
          <a:xfrm>
            <a:off x="9956802" y="6532152"/>
            <a:ext cx="87" cy="170987"/>
          </a:xfrm>
        </p:spPr>
        <p:txBody>
          <a:bodyPr/>
          <a:lstStyle/>
          <a:p>
            <a:endParaRPr lang="de-AT" dirty="0"/>
          </a:p>
        </p:txBody>
      </p:sp>
      <p:sp>
        <p:nvSpPr>
          <p:cNvPr id="8" name="Fußzeilenplatzhalter 7"/>
          <p:cNvSpPr>
            <a:spLocks noGrp="1"/>
          </p:cNvSpPr>
          <p:nvPr>
            <p:ph type="ftr" sz="quarter" idx="11"/>
          </p:nvPr>
        </p:nvSpPr>
        <p:spPr>
          <a:xfrm>
            <a:off x="4337051" y="6532152"/>
            <a:ext cx="87" cy="170987"/>
          </a:xfrm>
        </p:spPr>
        <p:txBody>
          <a:bodyPr/>
          <a:lstStyle/>
          <a:p>
            <a:pPr>
              <a:defRPr/>
            </a:pPr>
            <a:endParaRPr lang="de-AT" dirty="0"/>
          </a:p>
        </p:txBody>
      </p:sp>
      <p:sp>
        <p:nvSpPr>
          <p:cNvPr id="2" name="Titel 1"/>
          <p:cNvSpPr>
            <a:spLocks noGrp="1"/>
          </p:cNvSpPr>
          <p:nvPr>
            <p:ph type="title"/>
          </p:nvPr>
        </p:nvSpPr>
        <p:spPr/>
        <p:txBody>
          <a:bodyPr vert="horz"/>
          <a:lstStyle/>
          <a:p>
            <a:r>
              <a:rPr lang="de-DE"/>
              <a:t>Mastertitelformat bearbeiten</a:t>
            </a:r>
            <a:endParaRPr lang="de-AT" dirty="0"/>
          </a:p>
        </p:txBody>
      </p:sp>
      <p:sp>
        <p:nvSpPr>
          <p:cNvPr id="7" name="Foliennummernplatzhalter 5"/>
          <p:cNvSpPr>
            <a:spLocks noGrp="1"/>
          </p:cNvSpPr>
          <p:nvPr>
            <p:ph type="sldNum" sz="quarter" idx="4"/>
          </p:nvPr>
        </p:nvSpPr>
        <p:spPr>
          <a:xfrm>
            <a:off x="616544" y="6541608"/>
            <a:ext cx="243656" cy="215433"/>
          </a:xfrm>
          <a:prstGeom prst="rect">
            <a:avLst/>
          </a:prstGeom>
        </p:spPr>
        <p:txBody>
          <a:bodyPr vert="horz" lIns="0" tIns="45715" rIns="0" bIns="45715" rtlCol="0" anchor="ctr"/>
          <a:lstStyle>
            <a:lvl1pPr algn="l">
              <a:defRPr sz="800" cap="all" baseline="0">
                <a:solidFill>
                  <a:schemeClr val="tx1">
                    <a:tint val="75000"/>
                  </a:schemeClr>
                </a:solidFill>
              </a:defRPr>
            </a:lvl1pPr>
          </a:lstStyle>
          <a:p>
            <a:pPr>
              <a:defRPr/>
            </a:pPr>
            <a:fld id="{1DCCF55D-6712-4878-8866-00B4848C00CD}" type="slidenum">
              <a:rPr lang="de-AT" smtClean="0"/>
              <a:pPr>
                <a:defRPr/>
              </a:pPr>
              <a:t>‹Nr.›</a:t>
            </a:fld>
            <a:endParaRPr lang="de-AT" dirty="0"/>
          </a:p>
        </p:txBody>
      </p:sp>
    </p:spTree>
    <p:extLst>
      <p:ext uri="{BB962C8B-B14F-4D97-AF65-F5344CB8AC3E}">
        <p14:creationId xmlns:p14="http://schemas.microsoft.com/office/powerpoint/2010/main" val="5595800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el und Inhalt mit Fußnot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7" name="Objekt 6" hidden="1"/>
                      <p:cNvPicPr/>
                      <p:nvPr/>
                    </p:nvPicPr>
                    <p:blipFill>
                      <a:blip r:embed="rId9"/>
                      <a:stretch>
                        <a:fillRect/>
                      </a:stretch>
                    </p:blipFill>
                    <p:spPr>
                      <a:xfrm>
                        <a:off x="2119" y="1589"/>
                        <a:ext cx="2116" cy="1587"/>
                      </a:xfrm>
                      <a:prstGeom prst="rect">
                        <a:avLst/>
                      </a:prstGeom>
                    </p:spPr>
                  </p:pic>
                </p:oleObj>
              </mc:Fallback>
            </mc:AlternateContent>
          </a:graphicData>
        </a:graphic>
      </p:graphicFrame>
      <p:sp>
        <p:nvSpPr>
          <p:cNvPr id="2" name="Rechteck 1"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1219170" rtl="0" eaLnBrk="0" fontAlgn="base" latinLnBrk="0" hangingPunct="0">
              <a:lnSpc>
                <a:spcPts val="2267"/>
              </a:lnSpc>
              <a:spcBef>
                <a:spcPct val="0"/>
              </a:spcBef>
              <a:spcAft>
                <a:spcPct val="0"/>
              </a:spcAft>
              <a:buClrTx/>
              <a:buSzTx/>
              <a:buFontTx/>
              <a:buNone/>
              <a:tabLst/>
            </a:pPr>
            <a:endParaRPr kumimoji="0" lang="de-DE" sz="2267" b="0" i="0" u="none" strike="noStrike" cap="none" normalizeH="0" baseline="0" dirty="0" err="1">
              <a:ln>
                <a:noFill/>
              </a:ln>
              <a:solidFill>
                <a:schemeClr val="tx1"/>
              </a:solidFill>
              <a:effectLst/>
              <a:latin typeface="Arial"/>
              <a:ea typeface="MS PGothic"/>
              <a:cs typeface="+mj-cs"/>
              <a:sym typeface="Arial"/>
            </a:endParaRPr>
          </a:p>
        </p:txBody>
      </p:sp>
      <p:sp>
        <p:nvSpPr>
          <p:cNvPr id="3" name="Inhaltsplatzhalter 2"/>
          <p:cNvSpPr>
            <a:spLocks noGrp="1"/>
          </p:cNvSpPr>
          <p:nvPr>
            <p:ph idx="1" hasCustomPrompt="1"/>
            <p:custDataLst>
              <p:tags r:id="rId3"/>
            </p:custDataLst>
          </p:nvPr>
        </p:nvSpPr>
        <p:spPr>
          <a:xfrm>
            <a:off x="575734" y="1626594"/>
            <a:ext cx="9150351" cy="862986"/>
          </a:xfrm>
        </p:spPr>
        <p:txBody>
          <a:bodyPr/>
          <a:lstStyle>
            <a:lvl1pPr>
              <a:defRPr>
                <a:solidFill>
                  <a:schemeClr val="tx1"/>
                </a:solidFill>
              </a:defRPr>
            </a:lvl1pPr>
            <a:lvl2pPr>
              <a:defRPr/>
            </a:lvl2pPr>
          </a:lstStyle>
          <a:p>
            <a:pPr lvl="0"/>
            <a:r>
              <a:rPr lang="de-DE" dirty="0"/>
              <a:t>Das ist Hierarchie 1 ohne Bullet Point, Arial, 12 </a:t>
            </a:r>
            <a:r>
              <a:rPr lang="de-DE" dirty="0" err="1"/>
              <a:t>pt</a:t>
            </a:r>
            <a:r>
              <a:rPr lang="de-DE" dirty="0"/>
              <a:t> / ZA 1,1</a:t>
            </a:r>
          </a:p>
          <a:p>
            <a:pPr lvl="1"/>
            <a:r>
              <a:rPr lang="de-DE" dirty="0"/>
              <a:t>Das ist ein Bullet Point schwarz, Hierarchie 2, 12 </a:t>
            </a:r>
            <a:r>
              <a:rPr lang="de-DE" dirty="0" err="1"/>
              <a:t>pt</a:t>
            </a:r>
            <a:r>
              <a:rPr lang="de-DE" dirty="0"/>
              <a:t> / ZA 1,1</a:t>
            </a:r>
            <a:endParaRPr lang="de-AT" dirty="0"/>
          </a:p>
        </p:txBody>
      </p:sp>
      <p:sp>
        <p:nvSpPr>
          <p:cNvPr id="4" name="Datumsplatzhalter 3"/>
          <p:cNvSpPr>
            <a:spLocks noGrp="1"/>
          </p:cNvSpPr>
          <p:nvPr>
            <p:ph type="dt" sz="half" idx="10"/>
            <p:custDataLst>
              <p:tags r:id="rId4"/>
            </p:custDataLst>
          </p:nvPr>
        </p:nvSpPr>
        <p:spPr/>
        <p:txBody>
          <a:bodyPr/>
          <a:lstStyle>
            <a:lvl1pPr>
              <a:defRPr/>
            </a:lvl1pPr>
          </a:lstStyle>
          <a:p>
            <a:r>
              <a:rPr lang="en-US"/>
              <a:t>TT.MM.JJJJ</a:t>
            </a:r>
            <a:endParaRPr lang="de-DE"/>
          </a:p>
        </p:txBody>
      </p:sp>
      <p:sp>
        <p:nvSpPr>
          <p:cNvPr id="5" name="Foliennummernplatzhalter 4"/>
          <p:cNvSpPr>
            <a:spLocks noGrp="1"/>
          </p:cNvSpPr>
          <p:nvPr>
            <p:ph type="sldNum" sz="quarter" idx="11"/>
            <p:custDataLst>
              <p:tags r:id="rId5"/>
            </p:custDataLst>
          </p:nvPr>
        </p:nvSpPr>
        <p:spPr>
          <a:xfrm>
            <a:off x="11352448" y="6365922"/>
            <a:ext cx="468077" cy="123111"/>
          </a:xfrm>
        </p:spPr>
        <p:txBody>
          <a:bodyPr/>
          <a:lstStyle>
            <a:lvl1pPr>
              <a:defRPr/>
            </a:lvl1pPr>
          </a:lstStyle>
          <a:p>
            <a:pPr algn="r"/>
            <a:r>
              <a:rPr lang="de-DE"/>
              <a:t>Seite </a:t>
            </a:r>
            <a:fld id="{DA7C5908-43A2-4734-906C-248E75A07F0B}" type="slidenum">
              <a:rPr lang="de-DE" smtClean="0"/>
              <a:pPr algn="r"/>
              <a:t>‹Nr.›</a:t>
            </a:fld>
            <a:endParaRPr lang="de-DE" dirty="0"/>
          </a:p>
        </p:txBody>
      </p:sp>
      <p:sp>
        <p:nvSpPr>
          <p:cNvPr id="6" name="Fußzeilenplatzhalter 5"/>
          <p:cNvSpPr>
            <a:spLocks noGrp="1"/>
          </p:cNvSpPr>
          <p:nvPr>
            <p:ph type="ftr" sz="quarter" idx="12"/>
            <p:custDataLst>
              <p:tags r:id="rId6"/>
            </p:custDataLst>
          </p:nvPr>
        </p:nvSpPr>
        <p:spPr/>
        <p:txBody>
          <a:bodyPr/>
          <a:lstStyle>
            <a:lvl1pPr>
              <a:defRPr/>
            </a:lvl1pPr>
          </a:lstStyle>
          <a:p>
            <a:r>
              <a:rPr lang="de-DE"/>
              <a:t>Gesellschaft/OE/Verfasser/Vertraulich </a:t>
            </a:r>
          </a:p>
        </p:txBody>
      </p:sp>
      <p:sp>
        <p:nvSpPr>
          <p:cNvPr id="8" name="Titel 7"/>
          <p:cNvSpPr>
            <a:spLocks noGrp="1"/>
          </p:cNvSpPr>
          <p:nvPr>
            <p:ph type="title"/>
          </p:nvPr>
        </p:nvSpPr>
        <p:spPr/>
        <p:txBody>
          <a:bodyPr/>
          <a:lstStyle/>
          <a:p>
            <a:r>
              <a:rPr lang="de-DE"/>
              <a:t>Mastertitelformat bearbeiten</a:t>
            </a:r>
            <a:endParaRPr lang="de-AT" dirty="0"/>
          </a:p>
        </p:txBody>
      </p:sp>
      <p:sp>
        <p:nvSpPr>
          <p:cNvPr id="11" name="Textplatzhalter 9"/>
          <p:cNvSpPr>
            <a:spLocks noGrp="1"/>
          </p:cNvSpPr>
          <p:nvPr>
            <p:ph type="body" sz="quarter" idx="14" hasCustomPrompt="1"/>
          </p:nvPr>
        </p:nvSpPr>
        <p:spPr>
          <a:xfrm>
            <a:off x="575735" y="5956594"/>
            <a:ext cx="9148232" cy="473200"/>
          </a:xfrm>
        </p:spPr>
        <p:txBody>
          <a:bodyPr anchor="b"/>
          <a:lstStyle>
            <a:lvl1pPr>
              <a:defRPr sz="1067" baseline="0"/>
            </a:lvl1pPr>
            <a:lvl2pPr>
              <a:defRPr sz="1333"/>
            </a:lvl2pPr>
            <a:lvl3pPr>
              <a:defRPr sz="1333"/>
            </a:lvl3pPr>
            <a:lvl4pPr>
              <a:defRPr sz="1333"/>
            </a:lvl4pPr>
            <a:lvl5pPr>
              <a:defRPr sz="1333"/>
            </a:lvl5pPr>
          </a:lstStyle>
          <a:p>
            <a:pPr lvl="0"/>
            <a:r>
              <a:rPr lang="de-DE" dirty="0"/>
              <a:t>Hier steht eine Fußnote in 8 </a:t>
            </a:r>
            <a:r>
              <a:rPr lang="de-DE" dirty="0" err="1"/>
              <a:t>pt</a:t>
            </a:r>
            <a:r>
              <a:rPr lang="de-DE" dirty="0"/>
              <a:t> Schriftgröße</a:t>
            </a:r>
            <a:endParaRPr lang="de-AT" dirty="0"/>
          </a:p>
        </p:txBody>
      </p:sp>
    </p:spTree>
    <p:extLst>
      <p:ext uri="{BB962C8B-B14F-4D97-AF65-F5344CB8AC3E}">
        <p14:creationId xmlns:p14="http://schemas.microsoft.com/office/powerpoint/2010/main" val="1368429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folie_gr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9" name="Rechteck 18">
            <a:extLst>
              <a:ext uri="{FF2B5EF4-FFF2-40B4-BE49-F238E27FC236}">
                <a16:creationId xmlns:a16="http://schemas.microsoft.com/office/drawing/2014/main" id="{9AD1D97A-3D5C-4EAA-B0B9-D44F4667D4F5}"/>
              </a:ext>
            </a:extLst>
          </p:cNvPr>
          <p:cNvSpPr/>
          <p:nvPr userDrawn="1"/>
        </p:nvSpPr>
        <p:spPr bwMode="auto">
          <a:xfrm>
            <a:off x="196982" y="188913"/>
            <a:ext cx="11798036"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4" name="Textplatzhalter 3"/>
          <p:cNvSpPr>
            <a:spLocks noGrp="1"/>
          </p:cNvSpPr>
          <p:nvPr>
            <p:ph type="body" sz="quarter" idx="10" hasCustomPrompt="1"/>
          </p:nvPr>
        </p:nvSpPr>
        <p:spPr>
          <a:xfrm>
            <a:off x="374650" y="2409247"/>
            <a:ext cx="4540250" cy="600164"/>
          </a:xfrm>
        </p:spPr>
        <p:txBody>
          <a:bodyPr lIns="0" tIns="0" rIns="0" bIns="0"/>
          <a:lstStyle>
            <a:lvl1pPr algn="r">
              <a:defRPr sz="1300">
                <a:solidFill>
                  <a:schemeClr val="tx1"/>
                </a:solidFill>
              </a:defRPr>
            </a:lvl1pPr>
          </a:lstStyle>
          <a:p>
            <a:pPr lvl="0"/>
            <a:r>
              <a:rPr lang="de-DE" dirty="0"/>
              <a:t>Verfasser</a:t>
            </a:r>
            <a:br>
              <a:rPr lang="de-DE" dirty="0"/>
            </a:br>
            <a:r>
              <a:rPr lang="de-DE" dirty="0"/>
              <a:t>Ort</a:t>
            </a:r>
            <a:br>
              <a:rPr lang="de-DE" dirty="0"/>
            </a:br>
            <a:r>
              <a:rPr lang="de-DE" dirty="0"/>
              <a:t>TT. Monat JJJJ</a:t>
            </a:r>
            <a:endParaRPr lang="de-AT" dirty="0"/>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9094" y="6279356"/>
            <a:ext cx="1038599" cy="212725"/>
          </a:xfrm>
          <a:prstGeom prst="rect">
            <a:avLst/>
          </a:prstGeom>
        </p:spPr>
      </p:pic>
      <p:sp>
        <p:nvSpPr>
          <p:cNvPr id="13" name="Titel 12">
            <a:extLst>
              <a:ext uri="{FF2B5EF4-FFF2-40B4-BE49-F238E27FC236}">
                <a16:creationId xmlns:a16="http://schemas.microsoft.com/office/drawing/2014/main" id="{4F2045EF-14A1-4BAB-BE0B-8C5C717DFDF1}"/>
              </a:ext>
            </a:extLst>
          </p:cNvPr>
          <p:cNvSpPr>
            <a:spLocks noGrp="1"/>
          </p:cNvSpPr>
          <p:nvPr>
            <p:ph type="title"/>
          </p:nvPr>
        </p:nvSpPr>
        <p:spPr>
          <a:xfrm>
            <a:off x="196982" y="188913"/>
            <a:ext cx="4717918" cy="706311"/>
          </a:xfrm>
        </p:spPr>
        <p:txBody>
          <a:bodyPr vert="horz" rIns="0">
            <a:spAutoFit/>
          </a:bodyPr>
          <a:lstStyle/>
          <a:p>
            <a:r>
              <a:rPr lang="de-DE" dirty="0"/>
              <a:t>Mastertitelformat bearbeiten</a:t>
            </a:r>
            <a:endParaRPr lang="en-US" dirty="0"/>
          </a:p>
        </p:txBody>
      </p:sp>
      <p:sp>
        <p:nvSpPr>
          <p:cNvPr id="3" name="Foliennummernplatzhalter 2">
            <a:extLst>
              <a:ext uri="{FF2B5EF4-FFF2-40B4-BE49-F238E27FC236}">
                <a16:creationId xmlns:a16="http://schemas.microsoft.com/office/drawing/2014/main" id="{02B30A93-D846-4328-8F0A-181869020F72}"/>
              </a:ext>
            </a:extLst>
          </p:cNvPr>
          <p:cNvSpPr>
            <a:spLocks noGrp="1"/>
          </p:cNvSpPr>
          <p:nvPr>
            <p:ph type="sldNum" sz="quarter" idx="11"/>
          </p:nvPr>
        </p:nvSpPr>
        <p:spPr/>
        <p:txBody>
          <a:body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22809195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folie_bl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252DA38F-1A8E-4D40-AECF-BCEAA3DEBF5A}"/>
              </a:ext>
            </a:extLst>
          </p:cNvPr>
          <p:cNvSpPr/>
          <p:nvPr userDrawn="1"/>
        </p:nvSpPr>
        <p:spPr bwMode="auto">
          <a:xfrm>
            <a:off x="197400" y="188913"/>
            <a:ext cx="11797200" cy="64801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bg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4" name="Textplatzhalter 3"/>
          <p:cNvSpPr>
            <a:spLocks noGrp="1"/>
          </p:cNvSpPr>
          <p:nvPr>
            <p:ph type="body" sz="quarter" idx="10" hasCustomPrompt="1"/>
          </p:nvPr>
        </p:nvSpPr>
        <p:spPr>
          <a:xfrm>
            <a:off x="374650" y="2409247"/>
            <a:ext cx="4540250" cy="600164"/>
          </a:xfrm>
        </p:spPr>
        <p:txBody>
          <a:bodyPr lIns="0" tIns="0" rIns="0" bIns="0"/>
          <a:lstStyle>
            <a:lvl1pPr algn="r">
              <a:defRPr sz="1300">
                <a:solidFill>
                  <a:schemeClr val="bg1"/>
                </a:solidFill>
              </a:defRPr>
            </a:lvl1pPr>
          </a:lstStyle>
          <a:p>
            <a:pPr lvl="0"/>
            <a:r>
              <a:rPr lang="de-DE" dirty="0"/>
              <a:t>Verfasser</a:t>
            </a:r>
            <a:br>
              <a:rPr lang="de-DE" dirty="0"/>
            </a:br>
            <a:r>
              <a:rPr lang="de-DE" dirty="0"/>
              <a:t>Ort</a:t>
            </a:r>
            <a:br>
              <a:rPr lang="de-DE" dirty="0"/>
            </a:br>
            <a:r>
              <a:rPr lang="de-DE" dirty="0"/>
              <a:t>TT. Monat JJJJ</a:t>
            </a:r>
            <a:endParaRPr lang="de-AT" dirty="0"/>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9094" y="6279356"/>
            <a:ext cx="1038599" cy="212725"/>
          </a:xfrm>
          <a:prstGeom prst="rect">
            <a:avLst/>
          </a:prstGeom>
        </p:spPr>
      </p:pic>
      <p:sp>
        <p:nvSpPr>
          <p:cNvPr id="13" name="Titel 12">
            <a:extLst>
              <a:ext uri="{FF2B5EF4-FFF2-40B4-BE49-F238E27FC236}">
                <a16:creationId xmlns:a16="http://schemas.microsoft.com/office/drawing/2014/main" id="{4F2045EF-14A1-4BAB-BE0B-8C5C717DFDF1}"/>
              </a:ext>
            </a:extLst>
          </p:cNvPr>
          <p:cNvSpPr>
            <a:spLocks noGrp="1"/>
          </p:cNvSpPr>
          <p:nvPr>
            <p:ph type="title"/>
          </p:nvPr>
        </p:nvSpPr>
        <p:spPr>
          <a:xfrm>
            <a:off x="197400" y="188913"/>
            <a:ext cx="4717500" cy="706311"/>
          </a:xfrm>
        </p:spPr>
        <p:txBody>
          <a:bodyPr vert="horz" rIns="0">
            <a:spAutoFit/>
          </a:bodyPr>
          <a:lstStyle>
            <a:lvl1pPr>
              <a:defRPr>
                <a:solidFill>
                  <a:schemeClr val="bg1"/>
                </a:solidFill>
              </a:defRPr>
            </a:lvl1pPr>
          </a:lstStyle>
          <a:p>
            <a:r>
              <a:rPr lang="de-DE" dirty="0"/>
              <a:t>Mastertitelformat bearbeiten</a:t>
            </a:r>
            <a:endParaRPr lang="en-US" dirty="0"/>
          </a:p>
        </p:txBody>
      </p:sp>
      <p:sp>
        <p:nvSpPr>
          <p:cNvPr id="3" name="Foliennummernplatzhalter 2">
            <a:extLst>
              <a:ext uri="{FF2B5EF4-FFF2-40B4-BE49-F238E27FC236}">
                <a16:creationId xmlns:a16="http://schemas.microsoft.com/office/drawing/2014/main" id="{C450D49B-D8AE-4ACB-B53A-ADA52E4F938A}"/>
              </a:ext>
            </a:extLst>
          </p:cNvPr>
          <p:cNvSpPr>
            <a:spLocks noGrp="1"/>
          </p:cNvSpPr>
          <p:nvPr>
            <p:ph type="sldNum" sz="quarter" idx="11"/>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27969010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elfolie_Foto">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0112F1E6-4019-46DF-8875-641EC151FE39}"/>
              </a:ext>
            </a:extLst>
          </p:cNvPr>
          <p:cNvSpPr>
            <a:spLocks noGrp="1" noChangeAspect="1"/>
          </p:cNvSpPr>
          <p:nvPr>
            <p:ph type="pic" sz="quarter" idx="14" hasCustomPrompt="1"/>
          </p:nvPr>
        </p:nvSpPr>
        <p:spPr>
          <a:xfrm>
            <a:off x="197400" y="188913"/>
            <a:ext cx="11797200" cy="6480175"/>
          </a:xfrm>
          <a:solidFill>
            <a:schemeClr val="accent3"/>
          </a:solidFill>
        </p:spPr>
        <p:txBody>
          <a:bodyPr>
            <a:noAutofit/>
          </a:bodyPr>
          <a:lstStyle>
            <a:lvl1pPr>
              <a:defRPr/>
            </a:lvl1pPr>
          </a:lstStyle>
          <a:p>
            <a:r>
              <a:rPr lang="en-US" dirty="0"/>
              <a:t> </a:t>
            </a:r>
          </a:p>
        </p:txBody>
      </p:sp>
      <p:sp>
        <p:nvSpPr>
          <p:cNvPr id="7" name="Bildplatzhalter 6">
            <a:extLst>
              <a:ext uri="{FF2B5EF4-FFF2-40B4-BE49-F238E27FC236}">
                <a16:creationId xmlns:a16="http://schemas.microsoft.com/office/drawing/2014/main" id="{F0DD0F9B-2A10-4506-92DB-AB3871E01634}"/>
              </a:ext>
            </a:extLst>
          </p:cNvPr>
          <p:cNvSpPr>
            <a:spLocks noGrp="1"/>
          </p:cNvSpPr>
          <p:nvPr>
            <p:ph type="pic" sz="quarter" idx="12" hasCustomPrompt="1"/>
          </p:nvPr>
        </p:nvSpPr>
        <p:spPr>
          <a:xfrm>
            <a:off x="5131453" y="2450298"/>
            <a:ext cx="1929095" cy="1957404"/>
          </a:xfrm>
          <a:blipFill>
            <a:blip r:embed="rId6"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4" name="Textplatzhalter 3"/>
          <p:cNvSpPr>
            <a:spLocks noGrp="1"/>
          </p:cNvSpPr>
          <p:nvPr>
            <p:ph type="body" sz="quarter" idx="10" hasCustomPrompt="1"/>
          </p:nvPr>
        </p:nvSpPr>
        <p:spPr>
          <a:xfrm>
            <a:off x="374650" y="2409247"/>
            <a:ext cx="4540250" cy="600164"/>
          </a:xfrm>
        </p:spPr>
        <p:txBody>
          <a:bodyPr lIns="0" tIns="0" rIns="0" bIns="0"/>
          <a:lstStyle>
            <a:lvl1pPr algn="r">
              <a:defRPr sz="1300">
                <a:solidFill>
                  <a:schemeClr val="bg1"/>
                </a:solidFill>
              </a:defRPr>
            </a:lvl1pPr>
          </a:lstStyle>
          <a:p>
            <a:pPr lvl="0"/>
            <a:r>
              <a:rPr lang="de-DE" dirty="0"/>
              <a:t>Verfasser</a:t>
            </a:r>
            <a:br>
              <a:rPr lang="de-DE" dirty="0"/>
            </a:br>
            <a:r>
              <a:rPr lang="de-DE" dirty="0"/>
              <a:t>Ort</a:t>
            </a:r>
            <a:br>
              <a:rPr lang="de-DE" dirty="0"/>
            </a:br>
            <a:r>
              <a:rPr lang="de-DE" dirty="0"/>
              <a:t>TT. Monat JJJJ</a:t>
            </a:r>
            <a:endParaRPr lang="de-AT" dirty="0"/>
          </a:p>
        </p:txBody>
      </p:sp>
      <p:sp>
        <p:nvSpPr>
          <p:cNvPr id="13" name="Titel 12">
            <a:extLst>
              <a:ext uri="{FF2B5EF4-FFF2-40B4-BE49-F238E27FC236}">
                <a16:creationId xmlns:a16="http://schemas.microsoft.com/office/drawing/2014/main" id="{4F2045EF-14A1-4BAB-BE0B-8C5C717DFDF1}"/>
              </a:ext>
            </a:extLst>
          </p:cNvPr>
          <p:cNvSpPr>
            <a:spLocks noGrp="1"/>
          </p:cNvSpPr>
          <p:nvPr>
            <p:ph type="title"/>
          </p:nvPr>
        </p:nvSpPr>
        <p:spPr>
          <a:xfrm>
            <a:off x="197400" y="188913"/>
            <a:ext cx="4717500" cy="706311"/>
          </a:xfrm>
        </p:spPr>
        <p:txBody>
          <a:bodyPr vert="horz" rIns="0">
            <a:spAutoFit/>
          </a:bodyPr>
          <a:lstStyle>
            <a:lvl1pPr>
              <a:defRPr>
                <a:solidFill>
                  <a:schemeClr val="bg1"/>
                </a:solidFill>
              </a:defRPr>
            </a:lvl1pPr>
          </a:lstStyle>
          <a:p>
            <a:r>
              <a:rPr lang="de-DE" dirty="0"/>
              <a:t>Mastertitelformat bearbeiten</a:t>
            </a:r>
            <a:endParaRPr lang="en-US" dirty="0"/>
          </a:p>
        </p:txBody>
      </p:sp>
      <p:sp>
        <p:nvSpPr>
          <p:cNvPr id="17" name="Bildplatzhalter 6">
            <a:extLst>
              <a:ext uri="{FF2B5EF4-FFF2-40B4-BE49-F238E27FC236}">
                <a16:creationId xmlns:a16="http://schemas.microsoft.com/office/drawing/2014/main" id="{918F6376-DD3C-4B57-8110-882BAD8F9A87}"/>
              </a:ext>
            </a:extLst>
          </p:cNvPr>
          <p:cNvSpPr>
            <a:spLocks noGrp="1"/>
          </p:cNvSpPr>
          <p:nvPr>
            <p:ph type="pic" sz="quarter" idx="13" hasCustomPrompt="1"/>
          </p:nvPr>
        </p:nvSpPr>
        <p:spPr>
          <a:xfrm>
            <a:off x="369094" y="6279356"/>
            <a:ext cx="1038599" cy="212725"/>
          </a:xfrm>
          <a:blipFill>
            <a:blip r:embed="rId7"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9" name="Foliennummernplatzhalter 8">
            <a:extLst>
              <a:ext uri="{FF2B5EF4-FFF2-40B4-BE49-F238E27FC236}">
                <a16:creationId xmlns:a16="http://schemas.microsoft.com/office/drawing/2014/main" id="{03E20AFD-9BCF-49CC-A074-9B0D704D7DB1}"/>
              </a:ext>
            </a:extLst>
          </p:cNvPr>
          <p:cNvSpPr>
            <a:spLocks noGrp="1"/>
          </p:cNvSpPr>
          <p:nvPr>
            <p:ph type="sldNum" sz="quarter" idx="15"/>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794191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11798036" cy="6480175"/>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p>
            <a:pPr lvl="0" fontAlgn="base">
              <a:lnSpc>
                <a:spcPct val="100000"/>
              </a:lnSpc>
              <a:spcBef>
                <a:spcPct val="0"/>
              </a:spcBef>
              <a:spcAft>
                <a:spcPct val="0"/>
              </a:spcAft>
            </a:pPr>
            <a:endParaRPr lang="en-US" sz="2700" dirty="0" err="1">
              <a:solidFill>
                <a:schemeClr val="bg1"/>
              </a:solidFill>
              <a:latin typeface="+mj-lt"/>
              <a:ea typeface="+mj-ea"/>
              <a:cs typeface="+mj-cs"/>
            </a:endParaRPr>
          </a:p>
        </p:txBody>
      </p:sp>
      <p:sp>
        <p:nvSpPr>
          <p:cNvPr id="10" name="Textplatzhalter 9"/>
          <p:cNvSpPr>
            <a:spLocks noGrp="1"/>
          </p:cNvSpPr>
          <p:nvPr>
            <p:ph type="body" sz="quarter" idx="14" hasCustomPrompt="1"/>
          </p:nvPr>
        </p:nvSpPr>
        <p:spPr>
          <a:xfrm>
            <a:off x="943509" y="6365921"/>
            <a:ext cx="6371690" cy="123111"/>
          </a:xfrm>
        </p:spPr>
        <p:txBody>
          <a:bodyPr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10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2" name="Titel 1">
            <a:extLst>
              <a:ext uri="{FF2B5EF4-FFF2-40B4-BE49-F238E27FC236}">
                <a16:creationId xmlns:a16="http://schemas.microsoft.com/office/drawing/2014/main" id="{3CCB463D-8832-453C-B6A4-A4CE5A4AD15F}"/>
              </a:ext>
            </a:extLst>
          </p:cNvPr>
          <p:cNvSpPr>
            <a:spLocks noGrp="1"/>
          </p:cNvSpPr>
          <p:nvPr>
            <p:ph type="title"/>
          </p:nvPr>
        </p:nvSpPr>
        <p:spPr/>
        <p:txBody>
          <a:bodyPr vert="horz"/>
          <a:lstStyle>
            <a:lvl1pPr>
              <a:defRPr>
                <a:solidFill>
                  <a:schemeClr val="bg1"/>
                </a:solidFill>
              </a:defRPr>
            </a:lvl1pPr>
          </a:lstStyle>
          <a:p>
            <a:r>
              <a:rPr lang="de-DE" dirty="0"/>
              <a:t>Mastertitelformat bearbeiten</a:t>
            </a:r>
            <a:endParaRPr lang="en-US" dirty="0"/>
          </a:p>
        </p:txBody>
      </p:sp>
    </p:spTree>
    <p:extLst>
      <p:ext uri="{BB962C8B-B14F-4D97-AF65-F5344CB8AC3E}">
        <p14:creationId xmlns:p14="http://schemas.microsoft.com/office/powerpoint/2010/main" val="1145077331"/>
      </p:ext>
    </p:extLst>
  </p:cSld>
  <p:clrMapOvr>
    <a:masterClrMapping/>
  </p:clrMapOvr>
  <p:extLst>
    <p:ext uri="{DCECCB84-F9BA-43D5-87BE-67443E8EF086}">
      <p15:sldGuideLst xmlns:p15="http://schemas.microsoft.com/office/powerpoint/2012/main">
        <p15:guide id="1" orient="horz" pos="109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11798036"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6371690" cy="123111"/>
          </a:xfrm>
        </p:spPr>
        <p:txBody>
          <a:bodyPr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9781C374-F9AC-450E-B7EE-9C51B2BD12E7}"/>
              </a:ext>
            </a:extLst>
          </p:cNvPr>
          <p:cNvSpPr>
            <a:spLocks noGrp="1"/>
          </p:cNvSpPr>
          <p:nvPr>
            <p:ph type="body" sz="quarter" idx="17"/>
          </p:nvPr>
        </p:nvSpPr>
        <p:spPr>
          <a:xfrm>
            <a:off x="196982" y="1011238"/>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itel 16">
            <a:extLst>
              <a:ext uri="{FF2B5EF4-FFF2-40B4-BE49-F238E27FC236}">
                <a16:creationId xmlns:a16="http://schemas.microsoft.com/office/drawing/2014/main" id="{BD9EC69E-5D96-44EB-9999-2D91C7C02A00}"/>
              </a:ext>
            </a:extLst>
          </p:cNvPr>
          <p:cNvSpPr>
            <a:spLocks noGrp="1"/>
          </p:cNvSpPr>
          <p:nvPr>
            <p:ph type="title"/>
          </p:nvPr>
        </p:nvSpPr>
        <p:spPr>
          <a:xfrm>
            <a:off x="196982" y="188913"/>
            <a:ext cx="5808531" cy="706311"/>
          </a:xfrm>
        </p:spPr>
        <p:txBody>
          <a:bodyPr vert="horz">
            <a:spAutoFit/>
          </a:bodyPr>
          <a:lstStyle/>
          <a:p>
            <a:r>
              <a:rPr lang="de-DE" dirty="0"/>
              <a:t>Mastertitelformat bearbeiten</a:t>
            </a:r>
            <a:endParaRPr lang="en-US" dirty="0"/>
          </a:p>
        </p:txBody>
      </p:sp>
    </p:spTree>
    <p:extLst>
      <p:ext uri="{BB962C8B-B14F-4D97-AF65-F5344CB8AC3E}">
        <p14:creationId xmlns:p14="http://schemas.microsoft.com/office/powerpoint/2010/main" val="22447055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Textplatzhalter 9"/>
          <p:cNvSpPr>
            <a:spLocks noGrp="1"/>
          </p:cNvSpPr>
          <p:nvPr>
            <p:ph type="body" sz="quarter" idx="14" hasCustomPrompt="1"/>
          </p:nvPr>
        </p:nvSpPr>
        <p:spPr>
          <a:xfrm>
            <a:off x="943509" y="6365921"/>
            <a:ext cx="6371690" cy="123111"/>
          </a:xfrm>
        </p:spPr>
        <p:txBody>
          <a:bodyPr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9781C374-F9AC-450E-B7EE-9C51B2BD12E7}"/>
              </a:ext>
            </a:extLst>
          </p:cNvPr>
          <p:cNvSpPr>
            <a:spLocks noGrp="1"/>
          </p:cNvSpPr>
          <p:nvPr>
            <p:ph type="body" sz="quarter" idx="17"/>
          </p:nvPr>
        </p:nvSpPr>
        <p:spPr>
          <a:xfrm>
            <a:off x="196982" y="1011238"/>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itel 16">
            <a:extLst>
              <a:ext uri="{FF2B5EF4-FFF2-40B4-BE49-F238E27FC236}">
                <a16:creationId xmlns:a16="http://schemas.microsoft.com/office/drawing/2014/main" id="{BD9EC69E-5D96-44EB-9999-2D91C7C02A00}"/>
              </a:ext>
            </a:extLst>
          </p:cNvPr>
          <p:cNvSpPr>
            <a:spLocks noGrp="1"/>
          </p:cNvSpPr>
          <p:nvPr>
            <p:ph type="title"/>
          </p:nvPr>
        </p:nvSpPr>
        <p:spPr>
          <a:xfrm>
            <a:off x="196982" y="188913"/>
            <a:ext cx="5808531" cy="706311"/>
          </a:xfrm>
        </p:spPr>
        <p:txBody>
          <a:bodyPr vert="horz">
            <a:spAutoFit/>
          </a:bodyPr>
          <a:lstStyle/>
          <a:p>
            <a:r>
              <a:rPr lang="de-DE" dirty="0"/>
              <a:t>Mastertitelformat bearbeiten</a:t>
            </a:r>
            <a:endParaRPr lang="en-US" dirty="0"/>
          </a:p>
        </p:txBody>
      </p:sp>
    </p:spTree>
    <p:extLst>
      <p:ext uri="{BB962C8B-B14F-4D97-AF65-F5344CB8AC3E}">
        <p14:creationId xmlns:p14="http://schemas.microsoft.com/office/powerpoint/2010/main" val="2754787598"/>
      </p:ext>
    </p:extLst>
  </p:cSld>
  <p:clrMapOvr>
    <a:masterClrMapping/>
  </p:clrMapOvr>
  <p:extLst>
    <p:ext uri="{DCECCB84-F9BA-43D5-87BE-67443E8EF086}">
      <p15:sldGuideLst xmlns:p15="http://schemas.microsoft.com/office/powerpoint/2012/main">
        <p15:guide id="1" orient="horz" pos="3816" userDrawn="1">
          <p15:clr>
            <a:srgbClr val="FBAE40"/>
          </p15:clr>
        </p15:guide>
        <p15:guide id="2" orient="horz" pos="75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43426464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11798036"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6371690" cy="123111"/>
          </a:xfrm>
        </p:spPr>
        <p:txBody>
          <a:bodyPr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9781C374-F9AC-450E-B7EE-9C51B2BD12E7}"/>
              </a:ext>
            </a:extLst>
          </p:cNvPr>
          <p:cNvSpPr>
            <a:spLocks noGrp="1"/>
          </p:cNvSpPr>
          <p:nvPr>
            <p:ph type="body" sz="quarter" idx="17"/>
          </p:nvPr>
        </p:nvSpPr>
        <p:spPr>
          <a:xfrm>
            <a:off x="196982" y="1011238"/>
            <a:ext cx="5808531" cy="1693983"/>
          </a:xfrm>
        </p:spPr>
        <p:txBody>
          <a:bodyPr>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itel 16">
            <a:extLst>
              <a:ext uri="{FF2B5EF4-FFF2-40B4-BE49-F238E27FC236}">
                <a16:creationId xmlns:a16="http://schemas.microsoft.com/office/drawing/2014/main" id="{BD9EC69E-5D96-44EB-9999-2D91C7C02A00}"/>
              </a:ext>
            </a:extLst>
          </p:cNvPr>
          <p:cNvSpPr>
            <a:spLocks noGrp="1"/>
          </p:cNvSpPr>
          <p:nvPr>
            <p:ph type="title"/>
          </p:nvPr>
        </p:nvSpPr>
        <p:spPr>
          <a:xfrm>
            <a:off x="196982" y="188913"/>
            <a:ext cx="5808531" cy="706311"/>
          </a:xfrm>
        </p:spPr>
        <p:txBody>
          <a:bodyPr vert="horz">
            <a:spAutoFit/>
          </a:bodyPr>
          <a:lstStyle/>
          <a:p>
            <a:r>
              <a:rPr lang="de-DE"/>
              <a:t>Mastertitelformat bearbeiten</a:t>
            </a:r>
            <a:endParaRPr lang="en-US" dirty="0"/>
          </a:p>
        </p:txBody>
      </p:sp>
    </p:spTree>
    <p:extLst>
      <p:ext uri="{BB962C8B-B14F-4D97-AF65-F5344CB8AC3E}">
        <p14:creationId xmlns:p14="http://schemas.microsoft.com/office/powerpoint/2010/main" val="8761314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und Inhalt 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96FEF153-3CE1-44A8-8667-253B994E58C0}"/>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6186486"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08531" cy="706311"/>
          </a:xfrm>
          <a:noFill/>
        </p:spPr>
        <p:txBody>
          <a:bodyPr vert="horz">
            <a:spAutoFit/>
          </a:bodyPr>
          <a:lstStyle/>
          <a:p>
            <a:r>
              <a:rPr lang="de-DE" dirty="0"/>
              <a:t>Mastertitelformat bearbeiten</a:t>
            </a:r>
            <a:endParaRPr lang="en-US" dirty="0"/>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7" name="Textplatzhalter 15">
            <a:extLst>
              <a:ext uri="{FF2B5EF4-FFF2-40B4-BE49-F238E27FC236}">
                <a16:creationId xmlns:a16="http://schemas.microsoft.com/office/drawing/2014/main" id="{B530CDC8-04EE-4D24-BB0A-E5DE80A57178}"/>
              </a:ext>
            </a:extLst>
          </p:cNvPr>
          <p:cNvSpPr>
            <a:spLocks noGrp="1"/>
          </p:cNvSpPr>
          <p:nvPr>
            <p:ph type="body" sz="quarter" idx="17"/>
          </p:nvPr>
        </p:nvSpPr>
        <p:spPr>
          <a:xfrm>
            <a:off x="6189662" y="188913"/>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934995017"/>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und Inhal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3150087"/>
          </a:xfrm>
          <a:solidFill>
            <a:schemeClr val="bg2"/>
          </a:solidFill>
        </p:spPr>
        <p:txBody>
          <a:bodyPr vert="horz"/>
          <a:lstStyle/>
          <a:p>
            <a:r>
              <a:rPr lang="de-DE" dirty="0"/>
              <a:t>Mastertitelformat bearbeiten</a:t>
            </a:r>
            <a:endParaRPr lang="en-US"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6186486" y="188912"/>
            <a:ext cx="5808531" cy="648017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1" name="Rechteck 10">
            <a:extLst>
              <a:ext uri="{FF2B5EF4-FFF2-40B4-BE49-F238E27FC236}">
                <a16:creationId xmlns:a16="http://schemas.microsoft.com/office/drawing/2014/main" id="{BDDDE4D4-136A-491F-B28E-A3131E62ABD2}"/>
              </a:ext>
            </a:extLst>
          </p:cNvPr>
          <p:cNvSpPr/>
          <p:nvPr userDrawn="1"/>
        </p:nvSpPr>
        <p:spPr bwMode="auto">
          <a:xfrm>
            <a:off x="196982"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594D168F-2ACC-4882-9C8A-3078B6DD104D}"/>
              </a:ext>
            </a:extLst>
          </p:cNvPr>
          <p:cNvSpPr>
            <a:spLocks noGrp="1"/>
          </p:cNvSpPr>
          <p:nvPr>
            <p:ph type="body" sz="quarter" idx="17"/>
          </p:nvPr>
        </p:nvSpPr>
        <p:spPr>
          <a:xfrm>
            <a:off x="6189662" y="188913"/>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extplatzhalter 15">
            <a:extLst>
              <a:ext uri="{FF2B5EF4-FFF2-40B4-BE49-F238E27FC236}">
                <a16:creationId xmlns:a16="http://schemas.microsoft.com/office/drawing/2014/main" id="{3150758F-B1E9-494A-AAE4-1FCBD23FDFA0}"/>
              </a:ext>
            </a:extLst>
          </p:cNvPr>
          <p:cNvSpPr>
            <a:spLocks noGrp="1"/>
          </p:cNvSpPr>
          <p:nvPr>
            <p:ph type="body" sz="quarter" idx="18"/>
          </p:nvPr>
        </p:nvSpPr>
        <p:spPr>
          <a:xfrm>
            <a:off x="196982" y="3519000"/>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419800835"/>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und Inhalt 3">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3150087"/>
          </a:xfrm>
          <a:solidFill>
            <a:schemeClr val="bg2"/>
          </a:solidFill>
        </p:spPr>
        <p:txBody>
          <a:bodyPr vert="horz"/>
          <a:lstStyle/>
          <a:p>
            <a:r>
              <a:rPr lang="de-DE" dirty="0"/>
              <a:t>Mastertitelformat bearbeiten</a:t>
            </a:r>
            <a:endParaRPr lang="en-US" dirty="0"/>
          </a:p>
        </p:txBody>
      </p:sp>
      <p:sp>
        <p:nvSpPr>
          <p:cNvPr id="11" name="Rechteck 10">
            <a:extLst>
              <a:ext uri="{FF2B5EF4-FFF2-40B4-BE49-F238E27FC236}">
                <a16:creationId xmlns:a16="http://schemas.microsoft.com/office/drawing/2014/main" id="{BDDDE4D4-136A-491F-B28E-A3131E62ABD2}"/>
              </a:ext>
            </a:extLst>
          </p:cNvPr>
          <p:cNvSpPr/>
          <p:nvPr userDrawn="1"/>
        </p:nvSpPr>
        <p:spPr bwMode="auto">
          <a:xfrm>
            <a:off x="196982"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4" name="Rechteck 13">
            <a:extLst>
              <a:ext uri="{FF2B5EF4-FFF2-40B4-BE49-F238E27FC236}">
                <a16:creationId xmlns:a16="http://schemas.microsoft.com/office/drawing/2014/main" id="{6FF1498E-33E8-4BF9-A806-8CB3E5809499}"/>
              </a:ext>
            </a:extLst>
          </p:cNvPr>
          <p:cNvSpPr/>
          <p:nvPr userDrawn="1"/>
        </p:nvSpPr>
        <p:spPr bwMode="auto">
          <a:xfrm>
            <a:off x="6186486"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6186486" y="188913"/>
            <a:ext cx="5808531" cy="315008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7" name="Textplatzhalter 15">
            <a:extLst>
              <a:ext uri="{FF2B5EF4-FFF2-40B4-BE49-F238E27FC236}">
                <a16:creationId xmlns:a16="http://schemas.microsoft.com/office/drawing/2014/main" id="{B530CDC8-04EE-4D24-BB0A-E5DE80A57178}"/>
              </a:ext>
            </a:extLst>
          </p:cNvPr>
          <p:cNvSpPr>
            <a:spLocks noGrp="1"/>
          </p:cNvSpPr>
          <p:nvPr>
            <p:ph type="body" sz="quarter" idx="17"/>
          </p:nvPr>
        </p:nvSpPr>
        <p:spPr>
          <a:xfrm>
            <a:off x="6189662" y="188913"/>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15">
            <a:extLst>
              <a:ext uri="{FF2B5EF4-FFF2-40B4-BE49-F238E27FC236}">
                <a16:creationId xmlns:a16="http://schemas.microsoft.com/office/drawing/2014/main" id="{805D5EB7-0DFF-4FE1-9F41-710DF84C7B45}"/>
              </a:ext>
            </a:extLst>
          </p:cNvPr>
          <p:cNvSpPr>
            <a:spLocks noGrp="1"/>
          </p:cNvSpPr>
          <p:nvPr>
            <p:ph type="body" sz="quarter" idx="18"/>
          </p:nvPr>
        </p:nvSpPr>
        <p:spPr>
          <a:xfrm>
            <a:off x="196982" y="3519000"/>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9" name="Textplatzhalter 15">
            <a:extLst>
              <a:ext uri="{FF2B5EF4-FFF2-40B4-BE49-F238E27FC236}">
                <a16:creationId xmlns:a16="http://schemas.microsoft.com/office/drawing/2014/main" id="{6062F357-1E85-49D9-B9CC-D5A61AEA4D19}"/>
              </a:ext>
            </a:extLst>
          </p:cNvPr>
          <p:cNvSpPr>
            <a:spLocks noGrp="1"/>
          </p:cNvSpPr>
          <p:nvPr>
            <p:ph type="body" sz="quarter" idx="19"/>
          </p:nvPr>
        </p:nvSpPr>
        <p:spPr>
          <a:xfrm>
            <a:off x="6189662" y="3519000"/>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063509726"/>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el und Inhalt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96FEF153-3CE1-44A8-8667-253B994E58C0}"/>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08531" cy="706311"/>
          </a:xfrm>
          <a:noFill/>
        </p:spPr>
        <p:txBody>
          <a:bodyPr vert="horz">
            <a:spAutoFit/>
          </a:bodyPr>
          <a:lstStyle/>
          <a:p>
            <a:r>
              <a:rPr lang="de-DE" dirty="0"/>
              <a:t>Mastertitelformat bearbeiten</a:t>
            </a:r>
            <a:endParaRPr lang="en-US" dirty="0"/>
          </a:p>
        </p:txBody>
      </p:sp>
      <p:sp>
        <p:nvSpPr>
          <p:cNvPr id="14" name="Rechteck 13">
            <a:extLst>
              <a:ext uri="{FF2B5EF4-FFF2-40B4-BE49-F238E27FC236}">
                <a16:creationId xmlns:a16="http://schemas.microsoft.com/office/drawing/2014/main" id="{6FF1498E-33E8-4BF9-A806-8CB3E5809499}"/>
              </a:ext>
            </a:extLst>
          </p:cNvPr>
          <p:cNvSpPr/>
          <p:nvPr userDrawn="1"/>
        </p:nvSpPr>
        <p:spPr bwMode="auto">
          <a:xfrm>
            <a:off x="6186486"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6186486" y="188913"/>
            <a:ext cx="5808531" cy="315008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7" name="Textplatzhalter 15">
            <a:extLst>
              <a:ext uri="{FF2B5EF4-FFF2-40B4-BE49-F238E27FC236}">
                <a16:creationId xmlns:a16="http://schemas.microsoft.com/office/drawing/2014/main" id="{B530CDC8-04EE-4D24-BB0A-E5DE80A57178}"/>
              </a:ext>
            </a:extLst>
          </p:cNvPr>
          <p:cNvSpPr>
            <a:spLocks noGrp="1"/>
          </p:cNvSpPr>
          <p:nvPr>
            <p:ph type="body" sz="quarter" idx="17"/>
          </p:nvPr>
        </p:nvSpPr>
        <p:spPr>
          <a:xfrm>
            <a:off x="6189662" y="188913"/>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9" name="Textplatzhalter 15">
            <a:extLst>
              <a:ext uri="{FF2B5EF4-FFF2-40B4-BE49-F238E27FC236}">
                <a16:creationId xmlns:a16="http://schemas.microsoft.com/office/drawing/2014/main" id="{6062F357-1E85-49D9-B9CC-D5A61AEA4D19}"/>
              </a:ext>
            </a:extLst>
          </p:cNvPr>
          <p:cNvSpPr>
            <a:spLocks noGrp="1"/>
          </p:cNvSpPr>
          <p:nvPr>
            <p:ph type="body" sz="quarter" idx="19"/>
          </p:nvPr>
        </p:nvSpPr>
        <p:spPr>
          <a:xfrm>
            <a:off x="6189662" y="3519000"/>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742779531"/>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und Inhalt 5">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6" name="Rechteck 25">
            <a:extLst>
              <a:ext uri="{FF2B5EF4-FFF2-40B4-BE49-F238E27FC236}">
                <a16:creationId xmlns:a16="http://schemas.microsoft.com/office/drawing/2014/main" id="{362930E0-90F7-4364-AFB4-5FFEC4569418}"/>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a:extLst>
              <a:ext uri="{FF2B5EF4-FFF2-40B4-BE49-F238E27FC236}">
                <a16:creationId xmlns:a16="http://schemas.microsoft.com/office/drawing/2014/main" id="{C7408156-BB44-4271-B919-E11C0F946EC6}"/>
              </a:ext>
            </a:extLst>
          </p:cNvPr>
          <p:cNvSpPr/>
          <p:nvPr userDrawn="1"/>
        </p:nvSpPr>
        <p:spPr bwMode="auto">
          <a:xfrm>
            <a:off x="6186486" y="188913"/>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1" name="Textplatzhalter 15">
            <a:extLst>
              <a:ext uri="{FF2B5EF4-FFF2-40B4-BE49-F238E27FC236}">
                <a16:creationId xmlns:a16="http://schemas.microsoft.com/office/drawing/2014/main" id="{95660CA6-9E81-4ADA-8DF4-02AD8854C80B}"/>
              </a:ext>
            </a:extLst>
          </p:cNvPr>
          <p:cNvSpPr>
            <a:spLocks noGrp="1"/>
          </p:cNvSpPr>
          <p:nvPr>
            <p:ph type="body" sz="quarter" idx="18"/>
          </p:nvPr>
        </p:nvSpPr>
        <p:spPr>
          <a:xfrm>
            <a:off x="6186486" y="188913"/>
            <a:ext cx="5824719"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2" name="Rechteck 21">
            <a:extLst>
              <a:ext uri="{FF2B5EF4-FFF2-40B4-BE49-F238E27FC236}">
                <a16:creationId xmlns:a16="http://schemas.microsoft.com/office/drawing/2014/main" id="{495F8B57-3F00-4EF9-B3F6-D2A795DA82FA}"/>
              </a:ext>
            </a:extLst>
          </p:cNvPr>
          <p:cNvSpPr/>
          <p:nvPr userDrawn="1"/>
        </p:nvSpPr>
        <p:spPr bwMode="auto">
          <a:xfrm>
            <a:off x="6186486" y="2408972"/>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Rechteck 22">
            <a:extLst>
              <a:ext uri="{FF2B5EF4-FFF2-40B4-BE49-F238E27FC236}">
                <a16:creationId xmlns:a16="http://schemas.microsoft.com/office/drawing/2014/main" id="{27025C38-A54C-4E3F-B5C7-CDD338059FAA}"/>
              </a:ext>
            </a:extLst>
          </p:cNvPr>
          <p:cNvSpPr/>
          <p:nvPr userDrawn="1"/>
        </p:nvSpPr>
        <p:spPr bwMode="auto">
          <a:xfrm>
            <a:off x="6186486" y="4629031"/>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4" name="Textplatzhalter 15">
            <a:extLst>
              <a:ext uri="{FF2B5EF4-FFF2-40B4-BE49-F238E27FC236}">
                <a16:creationId xmlns:a16="http://schemas.microsoft.com/office/drawing/2014/main" id="{A6511BCC-F99B-4C98-A4E9-BD2979B9EC56}"/>
              </a:ext>
            </a:extLst>
          </p:cNvPr>
          <p:cNvSpPr>
            <a:spLocks noGrp="1"/>
          </p:cNvSpPr>
          <p:nvPr>
            <p:ph type="body" sz="quarter" idx="19"/>
          </p:nvPr>
        </p:nvSpPr>
        <p:spPr>
          <a:xfrm>
            <a:off x="6186486" y="2408972"/>
            <a:ext cx="5824719"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5" name="Textplatzhalter 15">
            <a:extLst>
              <a:ext uri="{FF2B5EF4-FFF2-40B4-BE49-F238E27FC236}">
                <a16:creationId xmlns:a16="http://schemas.microsoft.com/office/drawing/2014/main" id="{EB737C19-0E8D-465A-BF8E-121C51A05727}"/>
              </a:ext>
            </a:extLst>
          </p:cNvPr>
          <p:cNvSpPr>
            <a:spLocks noGrp="1"/>
          </p:cNvSpPr>
          <p:nvPr>
            <p:ph type="body" sz="quarter" idx="20"/>
          </p:nvPr>
        </p:nvSpPr>
        <p:spPr>
          <a:xfrm>
            <a:off x="6186486" y="4629031"/>
            <a:ext cx="5824719"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08531" cy="706311"/>
          </a:xfrm>
          <a:noFill/>
        </p:spPr>
        <p:txBody>
          <a:bodyPr vert="horz">
            <a:spAutoFit/>
          </a:bodyPr>
          <a:lstStyle/>
          <a:p>
            <a:r>
              <a:rPr lang="de-DE" dirty="0"/>
              <a:t>Mastertitelformat bearbeiten</a:t>
            </a:r>
            <a:endParaRPr lang="en-US" dirty="0"/>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661678633"/>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und Inhalt 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7" name="Rechteck 16">
            <a:extLst>
              <a:ext uri="{FF2B5EF4-FFF2-40B4-BE49-F238E27FC236}">
                <a16:creationId xmlns:a16="http://schemas.microsoft.com/office/drawing/2014/main" id="{AB379A0C-E08B-42D3-AA00-782A97784C34}"/>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a:extLst>
              <a:ext uri="{FF2B5EF4-FFF2-40B4-BE49-F238E27FC236}">
                <a16:creationId xmlns:a16="http://schemas.microsoft.com/office/drawing/2014/main" id="{C7408156-BB44-4271-B919-E11C0F946EC6}"/>
              </a:ext>
            </a:extLst>
          </p:cNvPr>
          <p:cNvSpPr/>
          <p:nvPr userDrawn="1"/>
        </p:nvSpPr>
        <p:spPr bwMode="auto">
          <a:xfrm>
            <a:off x="6186486" y="188912"/>
            <a:ext cx="5824719" cy="426011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Rechteck 22">
            <a:extLst>
              <a:ext uri="{FF2B5EF4-FFF2-40B4-BE49-F238E27FC236}">
                <a16:creationId xmlns:a16="http://schemas.microsoft.com/office/drawing/2014/main" id="{27025C38-A54C-4E3F-B5C7-CDD338059FAA}"/>
              </a:ext>
            </a:extLst>
          </p:cNvPr>
          <p:cNvSpPr/>
          <p:nvPr userDrawn="1"/>
        </p:nvSpPr>
        <p:spPr bwMode="auto">
          <a:xfrm>
            <a:off x="6186486" y="4629031"/>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08531" cy="706311"/>
          </a:xfrm>
          <a:noFill/>
        </p:spPr>
        <p:txBody>
          <a:bodyPr vert="horz">
            <a:spAutoFit/>
          </a:bodyPr>
          <a:lstStyle/>
          <a:p>
            <a:r>
              <a:rPr lang="de-DE" dirty="0"/>
              <a:t>Mastertitelformat bearbeiten</a:t>
            </a:r>
            <a:endParaRPr lang="en-US" dirty="0"/>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EA425527-4CF5-4FFA-842A-39E4FE804FEC}"/>
              </a:ext>
            </a:extLst>
          </p:cNvPr>
          <p:cNvSpPr>
            <a:spLocks noGrp="1"/>
          </p:cNvSpPr>
          <p:nvPr>
            <p:ph type="body" sz="quarter" idx="17"/>
          </p:nvPr>
        </p:nvSpPr>
        <p:spPr>
          <a:xfrm>
            <a:off x="6189662" y="188913"/>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5" name="Textplatzhalter 15">
            <a:extLst>
              <a:ext uri="{FF2B5EF4-FFF2-40B4-BE49-F238E27FC236}">
                <a16:creationId xmlns:a16="http://schemas.microsoft.com/office/drawing/2014/main" id="{5B923FD0-1AC9-4384-BA02-A5E4187D61C2}"/>
              </a:ext>
            </a:extLst>
          </p:cNvPr>
          <p:cNvSpPr>
            <a:spLocks noGrp="1"/>
          </p:cNvSpPr>
          <p:nvPr>
            <p:ph type="body" sz="quarter" idx="19"/>
          </p:nvPr>
        </p:nvSpPr>
        <p:spPr>
          <a:xfrm>
            <a:off x="6189662" y="4629031"/>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084771481"/>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und Inhalt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Titel 1">
            <a:extLst>
              <a:ext uri="{FF2B5EF4-FFF2-40B4-BE49-F238E27FC236}">
                <a16:creationId xmlns:a16="http://schemas.microsoft.com/office/drawing/2014/main" id="{7ABA0813-C6DA-4BBB-B135-8A2D007CC42A}"/>
              </a:ext>
            </a:extLst>
          </p:cNvPr>
          <p:cNvSpPr>
            <a:spLocks noGrp="1"/>
          </p:cNvSpPr>
          <p:nvPr>
            <p:ph type="title"/>
          </p:nvPr>
        </p:nvSpPr>
        <p:spPr>
          <a:xfrm>
            <a:off x="196982" y="188912"/>
            <a:ext cx="5817113" cy="2040058"/>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endParaRPr lang="en-US" dirty="0"/>
          </a:p>
        </p:txBody>
      </p:sp>
      <p:sp>
        <p:nvSpPr>
          <p:cNvPr id="17" name="Rechteck 16">
            <a:extLst>
              <a:ext uri="{FF2B5EF4-FFF2-40B4-BE49-F238E27FC236}">
                <a16:creationId xmlns:a16="http://schemas.microsoft.com/office/drawing/2014/main" id="{20488804-B457-47B7-A765-ECC90F5618A8}"/>
              </a:ext>
            </a:extLst>
          </p:cNvPr>
          <p:cNvSpPr/>
          <p:nvPr userDrawn="1"/>
        </p:nvSpPr>
        <p:spPr bwMode="auto">
          <a:xfrm>
            <a:off x="196982" y="2408972"/>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8" name="Rechteck 17">
            <a:extLst>
              <a:ext uri="{FF2B5EF4-FFF2-40B4-BE49-F238E27FC236}">
                <a16:creationId xmlns:a16="http://schemas.microsoft.com/office/drawing/2014/main" id="{DAE8FE6E-6DC9-4184-BD8A-52865D7C9CAF}"/>
              </a:ext>
            </a:extLst>
          </p:cNvPr>
          <p:cNvSpPr/>
          <p:nvPr userDrawn="1"/>
        </p:nvSpPr>
        <p:spPr bwMode="auto">
          <a:xfrm>
            <a:off x="196982" y="4629031"/>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Rechteck 19">
            <a:extLst>
              <a:ext uri="{FF2B5EF4-FFF2-40B4-BE49-F238E27FC236}">
                <a16:creationId xmlns:a16="http://schemas.microsoft.com/office/drawing/2014/main" id="{C7408156-BB44-4271-B919-E11C0F946EC6}"/>
              </a:ext>
            </a:extLst>
          </p:cNvPr>
          <p:cNvSpPr/>
          <p:nvPr userDrawn="1"/>
        </p:nvSpPr>
        <p:spPr bwMode="auto">
          <a:xfrm>
            <a:off x="6186486" y="188913"/>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2" name="Rechteck 21">
            <a:extLst>
              <a:ext uri="{FF2B5EF4-FFF2-40B4-BE49-F238E27FC236}">
                <a16:creationId xmlns:a16="http://schemas.microsoft.com/office/drawing/2014/main" id="{495F8B57-3F00-4EF9-B3F6-D2A795DA82FA}"/>
              </a:ext>
            </a:extLst>
          </p:cNvPr>
          <p:cNvSpPr/>
          <p:nvPr userDrawn="1"/>
        </p:nvSpPr>
        <p:spPr bwMode="auto">
          <a:xfrm>
            <a:off x="6186486" y="2408972"/>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Rechteck 22">
            <a:extLst>
              <a:ext uri="{FF2B5EF4-FFF2-40B4-BE49-F238E27FC236}">
                <a16:creationId xmlns:a16="http://schemas.microsoft.com/office/drawing/2014/main" id="{27025C38-A54C-4E3F-B5C7-CDD338059FAA}"/>
              </a:ext>
            </a:extLst>
          </p:cNvPr>
          <p:cNvSpPr/>
          <p:nvPr userDrawn="1"/>
        </p:nvSpPr>
        <p:spPr bwMode="auto">
          <a:xfrm>
            <a:off x="6186486" y="4629031"/>
            <a:ext cx="5824719"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9" name="Textplatzhalter 15">
            <a:extLst>
              <a:ext uri="{FF2B5EF4-FFF2-40B4-BE49-F238E27FC236}">
                <a16:creationId xmlns:a16="http://schemas.microsoft.com/office/drawing/2014/main" id="{AC0F71CF-C0E6-4FC8-8AFA-08DD407D7981}"/>
              </a:ext>
            </a:extLst>
          </p:cNvPr>
          <p:cNvSpPr>
            <a:spLocks noGrp="1"/>
          </p:cNvSpPr>
          <p:nvPr>
            <p:ph type="body" sz="quarter" idx="17"/>
          </p:nvPr>
        </p:nvSpPr>
        <p:spPr>
          <a:xfrm>
            <a:off x="6189662" y="188913"/>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6" name="Textplatzhalter 15">
            <a:extLst>
              <a:ext uri="{FF2B5EF4-FFF2-40B4-BE49-F238E27FC236}">
                <a16:creationId xmlns:a16="http://schemas.microsoft.com/office/drawing/2014/main" id="{D77FA1A5-0A2D-474D-AD46-50540585AA9F}"/>
              </a:ext>
            </a:extLst>
          </p:cNvPr>
          <p:cNvSpPr>
            <a:spLocks noGrp="1"/>
          </p:cNvSpPr>
          <p:nvPr>
            <p:ph type="body" sz="quarter" idx="18"/>
          </p:nvPr>
        </p:nvSpPr>
        <p:spPr>
          <a:xfrm>
            <a:off x="6189662" y="2408972"/>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7" name="Textplatzhalter 15">
            <a:extLst>
              <a:ext uri="{FF2B5EF4-FFF2-40B4-BE49-F238E27FC236}">
                <a16:creationId xmlns:a16="http://schemas.microsoft.com/office/drawing/2014/main" id="{41684DF9-F370-48A3-AD61-F868602BDAD7}"/>
              </a:ext>
            </a:extLst>
          </p:cNvPr>
          <p:cNvSpPr>
            <a:spLocks noGrp="1"/>
          </p:cNvSpPr>
          <p:nvPr>
            <p:ph type="body" sz="quarter" idx="19"/>
          </p:nvPr>
        </p:nvSpPr>
        <p:spPr>
          <a:xfrm>
            <a:off x="6189662" y="4629031"/>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8" name="Textplatzhalter 15">
            <a:extLst>
              <a:ext uri="{FF2B5EF4-FFF2-40B4-BE49-F238E27FC236}">
                <a16:creationId xmlns:a16="http://schemas.microsoft.com/office/drawing/2014/main" id="{0F631C0F-A7A0-4D7A-9918-3121D774D222}"/>
              </a:ext>
            </a:extLst>
          </p:cNvPr>
          <p:cNvSpPr>
            <a:spLocks noGrp="1"/>
          </p:cNvSpPr>
          <p:nvPr>
            <p:ph type="body" sz="quarter" idx="20"/>
          </p:nvPr>
        </p:nvSpPr>
        <p:spPr>
          <a:xfrm>
            <a:off x="196982" y="2408972"/>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9" name="Textplatzhalter 15">
            <a:extLst>
              <a:ext uri="{FF2B5EF4-FFF2-40B4-BE49-F238E27FC236}">
                <a16:creationId xmlns:a16="http://schemas.microsoft.com/office/drawing/2014/main" id="{2E88B389-3C07-4EE3-A6EE-7EFB2FF9AE35}"/>
              </a:ext>
            </a:extLst>
          </p:cNvPr>
          <p:cNvSpPr>
            <a:spLocks noGrp="1"/>
          </p:cNvSpPr>
          <p:nvPr>
            <p:ph type="body" sz="quarter" idx="21"/>
          </p:nvPr>
        </p:nvSpPr>
        <p:spPr>
          <a:xfrm>
            <a:off x="196982" y="4629031"/>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0383016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el und Inhalt 8">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8" name="Rechteck 17">
            <a:extLst>
              <a:ext uri="{FF2B5EF4-FFF2-40B4-BE49-F238E27FC236}">
                <a16:creationId xmlns:a16="http://schemas.microsoft.com/office/drawing/2014/main" id="{8E68C8D1-8E14-4EDA-85B1-0899E89274DA}"/>
              </a:ext>
            </a:extLst>
          </p:cNvPr>
          <p:cNvSpPr/>
          <p:nvPr userDrawn="1"/>
        </p:nvSpPr>
        <p:spPr bwMode="auto">
          <a:xfrm>
            <a:off x="196981" y="188913"/>
            <a:ext cx="7816148"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9" cy="706311"/>
          </a:xfrm>
          <a:noFill/>
        </p:spPr>
        <p:txBody>
          <a:bodyPr vert="horz">
            <a:spAutoFit/>
          </a:bodyPr>
          <a:lstStyle/>
          <a:p>
            <a:r>
              <a:rPr lang="de-DE" dirty="0"/>
              <a:t>Mastertitelformat bearbeiten</a:t>
            </a:r>
            <a:endParaRPr lang="en-US"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8193129" y="188913"/>
            <a:ext cx="3801887"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594D168F-2ACC-4882-9C8A-3078B6DD104D}"/>
              </a:ext>
            </a:extLst>
          </p:cNvPr>
          <p:cNvSpPr>
            <a:spLocks noGrp="1"/>
          </p:cNvSpPr>
          <p:nvPr>
            <p:ph type="body" sz="quarter" idx="17"/>
          </p:nvPr>
        </p:nvSpPr>
        <p:spPr>
          <a:xfrm>
            <a:off x="8193129" y="188913"/>
            <a:ext cx="3805063"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05129350"/>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el und Inhalt 8">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4" name="Rechteck 13">
            <a:extLst>
              <a:ext uri="{FF2B5EF4-FFF2-40B4-BE49-F238E27FC236}">
                <a16:creationId xmlns:a16="http://schemas.microsoft.com/office/drawing/2014/main" id="{526483D8-975E-4742-9D2D-D7B43E93E5AC}"/>
              </a:ext>
            </a:extLst>
          </p:cNvPr>
          <p:cNvSpPr/>
          <p:nvPr userDrawn="1"/>
        </p:nvSpPr>
        <p:spPr bwMode="auto">
          <a:xfrm>
            <a:off x="8193129" y="3519000"/>
            <a:ext cx="380188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8" name="Rechteck 17">
            <a:extLst>
              <a:ext uri="{FF2B5EF4-FFF2-40B4-BE49-F238E27FC236}">
                <a16:creationId xmlns:a16="http://schemas.microsoft.com/office/drawing/2014/main" id="{8E68C8D1-8E14-4EDA-85B1-0899E89274DA}"/>
              </a:ext>
            </a:extLst>
          </p:cNvPr>
          <p:cNvSpPr/>
          <p:nvPr userDrawn="1"/>
        </p:nvSpPr>
        <p:spPr bwMode="auto">
          <a:xfrm>
            <a:off x="196981" y="188913"/>
            <a:ext cx="7816148"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9" cy="706311"/>
          </a:xfrm>
          <a:noFill/>
        </p:spPr>
        <p:txBody>
          <a:bodyPr vert="horz">
            <a:spAutoFit/>
          </a:bodyPr>
          <a:lstStyle/>
          <a:p>
            <a:r>
              <a:rPr lang="de-DE" dirty="0"/>
              <a:t>Mastertitelformat bearbeiten</a:t>
            </a:r>
            <a:endParaRPr lang="en-US"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8193129" y="188913"/>
            <a:ext cx="380188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594D168F-2ACC-4882-9C8A-3078B6DD104D}"/>
              </a:ext>
            </a:extLst>
          </p:cNvPr>
          <p:cNvSpPr>
            <a:spLocks noGrp="1"/>
          </p:cNvSpPr>
          <p:nvPr>
            <p:ph type="body" sz="quarter" idx="17"/>
          </p:nvPr>
        </p:nvSpPr>
        <p:spPr>
          <a:xfrm>
            <a:off x="8193129" y="188913"/>
            <a:ext cx="3805063"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extplatzhalter 15">
            <a:extLst>
              <a:ext uri="{FF2B5EF4-FFF2-40B4-BE49-F238E27FC236}">
                <a16:creationId xmlns:a16="http://schemas.microsoft.com/office/drawing/2014/main" id="{DCAEEF60-BB60-4BC0-AF0D-DB906624A050}"/>
              </a:ext>
            </a:extLst>
          </p:cNvPr>
          <p:cNvSpPr>
            <a:spLocks noGrp="1"/>
          </p:cNvSpPr>
          <p:nvPr>
            <p:ph type="body" sz="quarter" idx="18"/>
          </p:nvPr>
        </p:nvSpPr>
        <p:spPr>
          <a:xfrm>
            <a:off x="8193129" y="3519000"/>
            <a:ext cx="3805063"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34250935"/>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el und Inhalt 9">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2" name="Rechteck 31">
            <a:extLst>
              <a:ext uri="{FF2B5EF4-FFF2-40B4-BE49-F238E27FC236}">
                <a16:creationId xmlns:a16="http://schemas.microsoft.com/office/drawing/2014/main" id="{57B8B345-5041-4C96-AF53-2790902268E1}"/>
              </a:ext>
            </a:extLst>
          </p:cNvPr>
          <p:cNvSpPr/>
          <p:nvPr userDrawn="1"/>
        </p:nvSpPr>
        <p:spPr bwMode="auto">
          <a:xfrm>
            <a:off x="6194094"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6194094"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5" name="Rechteck 34">
            <a:extLst>
              <a:ext uri="{FF2B5EF4-FFF2-40B4-BE49-F238E27FC236}">
                <a16:creationId xmlns:a16="http://schemas.microsoft.com/office/drawing/2014/main" id="{7DC4D833-2543-4229-B40B-46B52933D7C0}"/>
              </a:ext>
            </a:extLst>
          </p:cNvPr>
          <p:cNvSpPr/>
          <p:nvPr userDrawn="1"/>
        </p:nvSpPr>
        <p:spPr bwMode="auto">
          <a:xfrm>
            <a:off x="196980" y="3519000"/>
            <a:ext cx="5817114" cy="3150088"/>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17113" cy="315008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9192648"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9192648"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29" name="Textplatzhalter 15">
            <a:extLst>
              <a:ext uri="{FF2B5EF4-FFF2-40B4-BE49-F238E27FC236}">
                <a16:creationId xmlns:a16="http://schemas.microsoft.com/office/drawing/2014/main" id="{DD76BFAD-70BB-4486-B469-AD5C1A412A32}"/>
              </a:ext>
            </a:extLst>
          </p:cNvPr>
          <p:cNvSpPr>
            <a:spLocks noGrp="1"/>
          </p:cNvSpPr>
          <p:nvPr>
            <p:ph type="body" sz="quarter" idx="18"/>
          </p:nvPr>
        </p:nvSpPr>
        <p:spPr>
          <a:xfrm>
            <a:off x="9192648" y="188913"/>
            <a:ext cx="2818557"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7" name="Textplatzhalter 15">
            <a:extLst>
              <a:ext uri="{FF2B5EF4-FFF2-40B4-BE49-F238E27FC236}">
                <a16:creationId xmlns:a16="http://schemas.microsoft.com/office/drawing/2014/main" id="{40C2617D-3BDB-4571-9378-08FDD0438520}"/>
              </a:ext>
            </a:extLst>
          </p:cNvPr>
          <p:cNvSpPr>
            <a:spLocks noGrp="1"/>
          </p:cNvSpPr>
          <p:nvPr>
            <p:ph type="body" sz="quarter" idx="19"/>
          </p:nvPr>
        </p:nvSpPr>
        <p:spPr>
          <a:xfrm>
            <a:off x="9192648" y="3519000"/>
            <a:ext cx="2818557"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8" name="Textplatzhalter 15">
            <a:extLst>
              <a:ext uri="{FF2B5EF4-FFF2-40B4-BE49-F238E27FC236}">
                <a16:creationId xmlns:a16="http://schemas.microsoft.com/office/drawing/2014/main" id="{F54E8675-0D09-4BDD-A9B4-086D9D987117}"/>
              </a:ext>
            </a:extLst>
          </p:cNvPr>
          <p:cNvSpPr>
            <a:spLocks noGrp="1"/>
          </p:cNvSpPr>
          <p:nvPr>
            <p:ph type="body" sz="quarter" idx="20"/>
          </p:nvPr>
        </p:nvSpPr>
        <p:spPr>
          <a:xfrm>
            <a:off x="6194093" y="188913"/>
            <a:ext cx="2818557"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9" name="Textplatzhalter 15">
            <a:extLst>
              <a:ext uri="{FF2B5EF4-FFF2-40B4-BE49-F238E27FC236}">
                <a16:creationId xmlns:a16="http://schemas.microsoft.com/office/drawing/2014/main" id="{8E035C27-98EC-4F21-9250-F195A599D4E2}"/>
              </a:ext>
            </a:extLst>
          </p:cNvPr>
          <p:cNvSpPr>
            <a:spLocks noGrp="1"/>
          </p:cNvSpPr>
          <p:nvPr>
            <p:ph type="body" sz="quarter" idx="21"/>
          </p:nvPr>
        </p:nvSpPr>
        <p:spPr>
          <a:xfrm>
            <a:off x="6194093" y="3519000"/>
            <a:ext cx="2818557"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0" name="Textplatzhalter 15">
            <a:extLst>
              <a:ext uri="{FF2B5EF4-FFF2-40B4-BE49-F238E27FC236}">
                <a16:creationId xmlns:a16="http://schemas.microsoft.com/office/drawing/2014/main" id="{1F3D9747-126E-45FD-B3B7-9F6AE40EBA16}"/>
              </a:ext>
            </a:extLst>
          </p:cNvPr>
          <p:cNvSpPr>
            <a:spLocks noGrp="1"/>
          </p:cNvSpPr>
          <p:nvPr>
            <p:ph type="body" sz="quarter" idx="22"/>
          </p:nvPr>
        </p:nvSpPr>
        <p:spPr>
          <a:xfrm>
            <a:off x="196979" y="3519000"/>
            <a:ext cx="5817114"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1" name="Textplatzhalter 15">
            <a:extLst>
              <a:ext uri="{FF2B5EF4-FFF2-40B4-BE49-F238E27FC236}">
                <a16:creationId xmlns:a16="http://schemas.microsoft.com/office/drawing/2014/main" id="{DCCBAFC7-EF4A-4A0A-9575-C86667A547A5}"/>
              </a:ext>
            </a:extLst>
          </p:cNvPr>
          <p:cNvSpPr>
            <a:spLocks noGrp="1"/>
          </p:cNvSpPr>
          <p:nvPr>
            <p:ph type="body" sz="quarter" idx="23"/>
          </p:nvPr>
        </p:nvSpPr>
        <p:spPr>
          <a:xfrm>
            <a:off x="196982" y="201883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696790811"/>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9409939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96FEF153-3CE1-44A8-8667-253B994E58C0}"/>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6186486"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08531" cy="706311"/>
          </a:xfrm>
          <a:noFill/>
        </p:spPr>
        <p:txBody>
          <a:bodyPr vert="horz">
            <a:spAutoFit/>
          </a:bodyPr>
          <a:lstStyle/>
          <a:p>
            <a:r>
              <a:rPr lang="de-DE"/>
              <a:t>Mastertitelformat bearbeiten</a:t>
            </a:r>
            <a:endParaRPr lang="en-US" dirty="0"/>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7" name="Textplatzhalter 15">
            <a:extLst>
              <a:ext uri="{FF2B5EF4-FFF2-40B4-BE49-F238E27FC236}">
                <a16:creationId xmlns:a16="http://schemas.microsoft.com/office/drawing/2014/main" id="{B530CDC8-04EE-4D24-BB0A-E5DE80A57178}"/>
              </a:ext>
            </a:extLst>
          </p:cNvPr>
          <p:cNvSpPr>
            <a:spLocks noGrp="1"/>
          </p:cNvSpPr>
          <p:nvPr>
            <p:ph type="body" sz="quarter" idx="17"/>
          </p:nvPr>
        </p:nvSpPr>
        <p:spPr>
          <a:xfrm>
            <a:off x="6189662" y="188913"/>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97227348"/>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und Inhalt 1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2" name="Rechteck 31">
            <a:extLst>
              <a:ext uri="{FF2B5EF4-FFF2-40B4-BE49-F238E27FC236}">
                <a16:creationId xmlns:a16="http://schemas.microsoft.com/office/drawing/2014/main" id="{57B8B345-5041-4C96-AF53-2790902268E1}"/>
              </a:ext>
            </a:extLst>
          </p:cNvPr>
          <p:cNvSpPr/>
          <p:nvPr userDrawn="1"/>
        </p:nvSpPr>
        <p:spPr bwMode="auto">
          <a:xfrm>
            <a:off x="4195053" y="2408972"/>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4195053" y="4629031"/>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4" name="Rechteck 33">
            <a:extLst>
              <a:ext uri="{FF2B5EF4-FFF2-40B4-BE49-F238E27FC236}">
                <a16:creationId xmlns:a16="http://schemas.microsoft.com/office/drawing/2014/main" id="{8D45160B-F537-4C49-867E-9302DEBB2358}"/>
              </a:ext>
            </a:extLst>
          </p:cNvPr>
          <p:cNvSpPr/>
          <p:nvPr userDrawn="1"/>
        </p:nvSpPr>
        <p:spPr bwMode="auto">
          <a:xfrm>
            <a:off x="196981" y="2408972"/>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5" name="Rechteck 34">
            <a:extLst>
              <a:ext uri="{FF2B5EF4-FFF2-40B4-BE49-F238E27FC236}">
                <a16:creationId xmlns:a16="http://schemas.microsoft.com/office/drawing/2014/main" id="{7DC4D833-2543-4229-B40B-46B52933D7C0}"/>
              </a:ext>
            </a:extLst>
          </p:cNvPr>
          <p:cNvSpPr/>
          <p:nvPr userDrawn="1"/>
        </p:nvSpPr>
        <p:spPr bwMode="auto">
          <a:xfrm>
            <a:off x="196981" y="4629031"/>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8193129" y="188913"/>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2"/>
            <a:ext cx="7816148" cy="2040058"/>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endParaRPr lang="en-US"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8193129" y="188913"/>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8193129" y="2408972"/>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8193129" y="4629031"/>
            <a:ext cx="3818075" cy="204005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37" name="Textplatzhalter 15">
            <a:extLst>
              <a:ext uri="{FF2B5EF4-FFF2-40B4-BE49-F238E27FC236}">
                <a16:creationId xmlns:a16="http://schemas.microsoft.com/office/drawing/2014/main" id="{F54E8485-9BA3-472D-8150-A6A220D9EA44}"/>
              </a:ext>
            </a:extLst>
          </p:cNvPr>
          <p:cNvSpPr>
            <a:spLocks noGrp="1"/>
          </p:cNvSpPr>
          <p:nvPr>
            <p:ph type="body" sz="quarter" idx="19"/>
          </p:nvPr>
        </p:nvSpPr>
        <p:spPr>
          <a:xfrm>
            <a:off x="8193129" y="240897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8" name="Textplatzhalter 15">
            <a:extLst>
              <a:ext uri="{FF2B5EF4-FFF2-40B4-BE49-F238E27FC236}">
                <a16:creationId xmlns:a16="http://schemas.microsoft.com/office/drawing/2014/main" id="{F0BB5AE2-1A50-461D-9C55-26CE8F524230}"/>
              </a:ext>
            </a:extLst>
          </p:cNvPr>
          <p:cNvSpPr>
            <a:spLocks noGrp="1"/>
          </p:cNvSpPr>
          <p:nvPr>
            <p:ph type="body" sz="quarter" idx="20"/>
          </p:nvPr>
        </p:nvSpPr>
        <p:spPr>
          <a:xfrm>
            <a:off x="8193129" y="4629031"/>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9" name="Textplatzhalter 15">
            <a:extLst>
              <a:ext uri="{FF2B5EF4-FFF2-40B4-BE49-F238E27FC236}">
                <a16:creationId xmlns:a16="http://schemas.microsoft.com/office/drawing/2014/main" id="{5E78EE5C-3470-4E67-89E4-4B959A17AFEA}"/>
              </a:ext>
            </a:extLst>
          </p:cNvPr>
          <p:cNvSpPr>
            <a:spLocks noGrp="1"/>
          </p:cNvSpPr>
          <p:nvPr>
            <p:ph type="body" sz="quarter" idx="21"/>
          </p:nvPr>
        </p:nvSpPr>
        <p:spPr>
          <a:xfrm>
            <a:off x="4195053" y="240897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0" name="Textplatzhalter 15">
            <a:extLst>
              <a:ext uri="{FF2B5EF4-FFF2-40B4-BE49-F238E27FC236}">
                <a16:creationId xmlns:a16="http://schemas.microsoft.com/office/drawing/2014/main" id="{AA884EEC-02B8-4929-9F06-252793D98C28}"/>
              </a:ext>
            </a:extLst>
          </p:cNvPr>
          <p:cNvSpPr>
            <a:spLocks noGrp="1"/>
          </p:cNvSpPr>
          <p:nvPr>
            <p:ph type="body" sz="quarter" idx="22"/>
          </p:nvPr>
        </p:nvSpPr>
        <p:spPr>
          <a:xfrm>
            <a:off x="4195053" y="4629031"/>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1" name="Textplatzhalter 15">
            <a:extLst>
              <a:ext uri="{FF2B5EF4-FFF2-40B4-BE49-F238E27FC236}">
                <a16:creationId xmlns:a16="http://schemas.microsoft.com/office/drawing/2014/main" id="{7E83F8FF-5674-473D-A693-44A83ACF0E8A}"/>
              </a:ext>
            </a:extLst>
          </p:cNvPr>
          <p:cNvSpPr>
            <a:spLocks noGrp="1"/>
          </p:cNvSpPr>
          <p:nvPr>
            <p:ph type="body" sz="quarter" idx="23"/>
          </p:nvPr>
        </p:nvSpPr>
        <p:spPr>
          <a:xfrm>
            <a:off x="196981" y="240897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2" name="Textplatzhalter 15">
            <a:extLst>
              <a:ext uri="{FF2B5EF4-FFF2-40B4-BE49-F238E27FC236}">
                <a16:creationId xmlns:a16="http://schemas.microsoft.com/office/drawing/2014/main" id="{7E91A2A3-9D4C-4F6E-9C56-A45217273F0B}"/>
              </a:ext>
            </a:extLst>
          </p:cNvPr>
          <p:cNvSpPr>
            <a:spLocks noGrp="1"/>
          </p:cNvSpPr>
          <p:nvPr>
            <p:ph type="body" sz="quarter" idx="24"/>
          </p:nvPr>
        </p:nvSpPr>
        <p:spPr>
          <a:xfrm>
            <a:off x="196981" y="4629031"/>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248022254"/>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und Inhalt 1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2" name="Rechteck 31">
            <a:extLst>
              <a:ext uri="{FF2B5EF4-FFF2-40B4-BE49-F238E27FC236}">
                <a16:creationId xmlns:a16="http://schemas.microsoft.com/office/drawing/2014/main" id="{57B8B345-5041-4C96-AF53-2790902268E1}"/>
              </a:ext>
            </a:extLst>
          </p:cNvPr>
          <p:cNvSpPr/>
          <p:nvPr userDrawn="1"/>
        </p:nvSpPr>
        <p:spPr bwMode="auto">
          <a:xfrm>
            <a:off x="4195053" y="1490722"/>
            <a:ext cx="3818075" cy="517836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4" name="Rechteck 33">
            <a:extLst>
              <a:ext uri="{FF2B5EF4-FFF2-40B4-BE49-F238E27FC236}">
                <a16:creationId xmlns:a16="http://schemas.microsoft.com/office/drawing/2014/main" id="{8D45160B-F537-4C49-867E-9302DEBB2358}"/>
              </a:ext>
            </a:extLst>
          </p:cNvPr>
          <p:cNvSpPr/>
          <p:nvPr userDrawn="1"/>
        </p:nvSpPr>
        <p:spPr bwMode="auto">
          <a:xfrm>
            <a:off x="196981" y="1490722"/>
            <a:ext cx="3818075" cy="517836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hasCustomPrompt="1"/>
          </p:nvPr>
        </p:nvSpPr>
        <p:spPr>
          <a:xfrm>
            <a:off x="196981" y="188912"/>
            <a:ext cx="7816148" cy="112180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br>
              <a:rPr lang="de-DE" dirty="0"/>
            </a:b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8193129" y="188912"/>
            <a:ext cx="3818075"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37" name="Textplatzhalter 15">
            <a:extLst>
              <a:ext uri="{FF2B5EF4-FFF2-40B4-BE49-F238E27FC236}">
                <a16:creationId xmlns:a16="http://schemas.microsoft.com/office/drawing/2014/main" id="{F54E8485-9BA3-472D-8150-A6A220D9EA44}"/>
              </a:ext>
            </a:extLst>
          </p:cNvPr>
          <p:cNvSpPr>
            <a:spLocks noGrp="1"/>
          </p:cNvSpPr>
          <p:nvPr>
            <p:ph type="body" sz="quarter" idx="19"/>
          </p:nvPr>
        </p:nvSpPr>
        <p:spPr>
          <a:xfrm>
            <a:off x="8193129" y="149072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9" name="Textplatzhalter 15">
            <a:extLst>
              <a:ext uri="{FF2B5EF4-FFF2-40B4-BE49-F238E27FC236}">
                <a16:creationId xmlns:a16="http://schemas.microsoft.com/office/drawing/2014/main" id="{5E78EE5C-3470-4E67-89E4-4B959A17AFEA}"/>
              </a:ext>
            </a:extLst>
          </p:cNvPr>
          <p:cNvSpPr>
            <a:spLocks noGrp="1"/>
          </p:cNvSpPr>
          <p:nvPr>
            <p:ph type="body" sz="quarter" idx="21"/>
          </p:nvPr>
        </p:nvSpPr>
        <p:spPr>
          <a:xfrm>
            <a:off x="4195053" y="149072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1" name="Textplatzhalter 15">
            <a:extLst>
              <a:ext uri="{FF2B5EF4-FFF2-40B4-BE49-F238E27FC236}">
                <a16:creationId xmlns:a16="http://schemas.microsoft.com/office/drawing/2014/main" id="{7E83F8FF-5674-473D-A693-44A83ACF0E8A}"/>
              </a:ext>
            </a:extLst>
          </p:cNvPr>
          <p:cNvSpPr>
            <a:spLocks noGrp="1"/>
          </p:cNvSpPr>
          <p:nvPr>
            <p:ph type="body" sz="quarter" idx="23"/>
          </p:nvPr>
        </p:nvSpPr>
        <p:spPr>
          <a:xfrm>
            <a:off x="196981" y="1490722"/>
            <a:ext cx="3818075" cy="1320168"/>
          </a:xfrm>
        </p:spPr>
        <p:txBody>
          <a:bodyPr tIns="136800">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506374830"/>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el und Inhalt 11">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3" name="Rechteck 22">
            <a:extLst>
              <a:ext uri="{FF2B5EF4-FFF2-40B4-BE49-F238E27FC236}">
                <a16:creationId xmlns:a16="http://schemas.microsoft.com/office/drawing/2014/main" id="{0618F3D9-16DB-4D43-BD6D-E17166357DDF}"/>
              </a:ext>
            </a:extLst>
          </p:cNvPr>
          <p:cNvSpPr/>
          <p:nvPr userDrawn="1"/>
        </p:nvSpPr>
        <p:spPr bwMode="auto">
          <a:xfrm>
            <a:off x="6194091" y="4169903"/>
            <a:ext cx="5817114" cy="249918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4" name="Rechteck 23">
            <a:extLst>
              <a:ext uri="{FF2B5EF4-FFF2-40B4-BE49-F238E27FC236}">
                <a16:creationId xmlns:a16="http://schemas.microsoft.com/office/drawing/2014/main" id="{A6B5D289-8AEE-42DE-9484-E79369E68981}"/>
              </a:ext>
            </a:extLst>
          </p:cNvPr>
          <p:cNvSpPr/>
          <p:nvPr userDrawn="1"/>
        </p:nvSpPr>
        <p:spPr bwMode="auto">
          <a:xfrm>
            <a:off x="196980" y="4169903"/>
            <a:ext cx="5817114" cy="249918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8" name="Rechteck 17">
            <a:extLst>
              <a:ext uri="{FF2B5EF4-FFF2-40B4-BE49-F238E27FC236}">
                <a16:creationId xmlns:a16="http://schemas.microsoft.com/office/drawing/2014/main" id="{28BB09DE-8541-4212-84BD-259D9DE983C3}"/>
              </a:ext>
            </a:extLst>
          </p:cNvPr>
          <p:cNvSpPr/>
          <p:nvPr userDrawn="1"/>
        </p:nvSpPr>
        <p:spPr bwMode="auto">
          <a:xfrm>
            <a:off x="6194092" y="1490722"/>
            <a:ext cx="5817113" cy="249918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4" name="Rechteck 33">
            <a:extLst>
              <a:ext uri="{FF2B5EF4-FFF2-40B4-BE49-F238E27FC236}">
                <a16:creationId xmlns:a16="http://schemas.microsoft.com/office/drawing/2014/main" id="{8D45160B-F537-4C49-867E-9302DEBB2358}"/>
              </a:ext>
            </a:extLst>
          </p:cNvPr>
          <p:cNvSpPr/>
          <p:nvPr userDrawn="1"/>
        </p:nvSpPr>
        <p:spPr bwMode="auto">
          <a:xfrm>
            <a:off x="196980" y="1490722"/>
            <a:ext cx="5817114" cy="2499184"/>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hasCustomPrompt="1"/>
          </p:nvPr>
        </p:nvSpPr>
        <p:spPr>
          <a:xfrm>
            <a:off x="196981" y="188912"/>
            <a:ext cx="11814224" cy="112180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br>
              <a:rPr lang="de-DE" dirty="0"/>
            </a:b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36" name="Grafik 46">
            <a:extLst>
              <a:ext uri="{FF2B5EF4-FFF2-40B4-BE49-F238E27FC236}">
                <a16:creationId xmlns:a16="http://schemas.microsoft.com/office/drawing/2014/main" id="{F8A7277F-8C79-4D74-BD0C-12DC67FD5364}"/>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37" name="Textplatzhalter 15">
            <a:extLst>
              <a:ext uri="{FF2B5EF4-FFF2-40B4-BE49-F238E27FC236}">
                <a16:creationId xmlns:a16="http://schemas.microsoft.com/office/drawing/2014/main" id="{F54E8485-9BA3-472D-8150-A6A220D9EA44}"/>
              </a:ext>
            </a:extLst>
          </p:cNvPr>
          <p:cNvSpPr>
            <a:spLocks noGrp="1"/>
          </p:cNvSpPr>
          <p:nvPr>
            <p:ph type="body" sz="quarter" idx="19"/>
          </p:nvPr>
        </p:nvSpPr>
        <p:spPr>
          <a:xfrm>
            <a:off x="6194092" y="1490722"/>
            <a:ext cx="5817113"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1" name="Textplatzhalter 15">
            <a:extLst>
              <a:ext uri="{FF2B5EF4-FFF2-40B4-BE49-F238E27FC236}">
                <a16:creationId xmlns:a16="http://schemas.microsoft.com/office/drawing/2014/main" id="{7E83F8FF-5674-473D-A693-44A83ACF0E8A}"/>
              </a:ext>
            </a:extLst>
          </p:cNvPr>
          <p:cNvSpPr>
            <a:spLocks noGrp="1"/>
          </p:cNvSpPr>
          <p:nvPr>
            <p:ph type="body" sz="quarter" idx="23"/>
          </p:nvPr>
        </p:nvSpPr>
        <p:spPr>
          <a:xfrm>
            <a:off x="196980" y="1490722"/>
            <a:ext cx="5817114"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5" name="Textplatzhalter 15">
            <a:extLst>
              <a:ext uri="{FF2B5EF4-FFF2-40B4-BE49-F238E27FC236}">
                <a16:creationId xmlns:a16="http://schemas.microsoft.com/office/drawing/2014/main" id="{460A8514-D800-4129-8E12-90FFDFB93F0D}"/>
              </a:ext>
            </a:extLst>
          </p:cNvPr>
          <p:cNvSpPr>
            <a:spLocks noGrp="1"/>
          </p:cNvSpPr>
          <p:nvPr>
            <p:ph type="body" sz="quarter" idx="24"/>
          </p:nvPr>
        </p:nvSpPr>
        <p:spPr>
          <a:xfrm>
            <a:off x="6194092" y="4169903"/>
            <a:ext cx="5817113"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6" name="Textplatzhalter 15">
            <a:extLst>
              <a:ext uri="{FF2B5EF4-FFF2-40B4-BE49-F238E27FC236}">
                <a16:creationId xmlns:a16="http://schemas.microsoft.com/office/drawing/2014/main" id="{64545849-2187-4B23-BA04-30EB393B8384}"/>
              </a:ext>
            </a:extLst>
          </p:cNvPr>
          <p:cNvSpPr>
            <a:spLocks noGrp="1"/>
          </p:cNvSpPr>
          <p:nvPr>
            <p:ph type="body" sz="quarter" idx="25"/>
          </p:nvPr>
        </p:nvSpPr>
        <p:spPr>
          <a:xfrm>
            <a:off x="196980" y="4169903"/>
            <a:ext cx="5817114" cy="1704888"/>
          </a:xfrm>
        </p:spPr>
        <p:txBody>
          <a:bodyPr tIns="136800">
            <a:spAutoFit/>
          </a:bodyPr>
          <a:lstStyle>
            <a:lvl1pPr>
              <a:defRPr sz="1800"/>
            </a:lvl1pPr>
            <a:lvl2pPr>
              <a:defRPr sz="1800"/>
            </a:lvl2pPr>
            <a:lvl3pPr>
              <a:defRPr sz="1800"/>
            </a:lvl3pPr>
            <a:lvl4pPr>
              <a:defRPr sz="1800"/>
            </a:lvl4pPr>
            <a:lvl5pPr>
              <a:defRPr sz="18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09980883"/>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6202674" y="188913"/>
            <a:ext cx="5791926" cy="6480175"/>
          </a:xfrm>
          <a:solidFill>
            <a:schemeClr val="accent3"/>
          </a:solid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p>
            <a:r>
              <a:rPr lang="de-DE" dirty="0"/>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1011238"/>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65397970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6202674" y="188913"/>
            <a:ext cx="5791926" cy="3150087"/>
          </a:xfrm>
          <a:solidFill>
            <a:schemeClr val="accent3"/>
          </a:solidFill>
        </p:spPr>
        <p:txBody>
          <a:bodyPr>
            <a:noAutofit/>
          </a:bodyPr>
          <a:lstStyle>
            <a:lvl1pPr>
              <a:defRPr/>
            </a:lvl1pPr>
          </a:lstStyle>
          <a:p>
            <a:r>
              <a:rPr lang="en-US" dirty="0"/>
              <a:t> </a:t>
            </a:r>
          </a:p>
        </p:txBody>
      </p:sp>
      <p:sp>
        <p:nvSpPr>
          <p:cNvPr id="17" name="Bildplatzhalter 6">
            <a:extLst>
              <a:ext uri="{FF2B5EF4-FFF2-40B4-BE49-F238E27FC236}">
                <a16:creationId xmlns:a16="http://schemas.microsoft.com/office/drawing/2014/main" id="{C36F64BA-545F-4D9D-9BE1-8AE8EE757498}"/>
              </a:ext>
            </a:extLst>
          </p:cNvPr>
          <p:cNvSpPr>
            <a:spLocks noGrp="1" noChangeAspect="1"/>
          </p:cNvSpPr>
          <p:nvPr>
            <p:ph type="pic" sz="quarter" idx="19" hasCustomPrompt="1"/>
          </p:nvPr>
        </p:nvSpPr>
        <p:spPr>
          <a:xfrm>
            <a:off x="6202674" y="3519000"/>
            <a:ext cx="5791926" cy="3150087"/>
          </a:xfrm>
          <a:solidFill>
            <a:schemeClr val="accent3"/>
          </a:solid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p>
            <a:r>
              <a:rPr lang="de-DE" dirty="0"/>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1557338"/>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176077846"/>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Titel 1">
            <a:extLst>
              <a:ext uri="{FF2B5EF4-FFF2-40B4-BE49-F238E27FC236}">
                <a16:creationId xmlns:a16="http://schemas.microsoft.com/office/drawing/2014/main" id="{7FD05370-A0B2-4F44-A11A-18774D13DD6D}"/>
              </a:ext>
            </a:extLst>
          </p:cNvPr>
          <p:cNvSpPr txBox="1">
            <a:spLocks/>
          </p:cNvSpPr>
          <p:nvPr userDrawn="1"/>
        </p:nvSpPr>
        <p:spPr bwMode="auto">
          <a:xfrm>
            <a:off x="196982" y="188912"/>
            <a:ext cx="5817113" cy="3150089"/>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endParaRPr lang="en-US" kern="0" dirty="0"/>
          </a:p>
        </p:txBody>
      </p:sp>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6202674" y="188913"/>
            <a:ext cx="5791926" cy="3150087"/>
          </a:xfrm>
          <a:solidFill>
            <a:schemeClr val="accent3"/>
          </a:solidFill>
        </p:spPr>
        <p:txBody>
          <a:bodyPr>
            <a:noAutofit/>
          </a:bodyPr>
          <a:lstStyle>
            <a:lvl1pPr>
              <a:defRPr/>
            </a:lvl1pPr>
          </a:lstStyle>
          <a:p>
            <a:r>
              <a:rPr lang="en-US" dirty="0"/>
              <a:t> </a:t>
            </a:r>
          </a:p>
        </p:txBody>
      </p:sp>
      <p:sp>
        <p:nvSpPr>
          <p:cNvPr id="17" name="Bildplatzhalter 6">
            <a:extLst>
              <a:ext uri="{FF2B5EF4-FFF2-40B4-BE49-F238E27FC236}">
                <a16:creationId xmlns:a16="http://schemas.microsoft.com/office/drawing/2014/main" id="{C36F64BA-545F-4D9D-9BE1-8AE8EE757498}"/>
              </a:ext>
            </a:extLst>
          </p:cNvPr>
          <p:cNvSpPr>
            <a:spLocks noGrp="1" noChangeAspect="1"/>
          </p:cNvSpPr>
          <p:nvPr>
            <p:ph type="pic" sz="quarter" idx="19" hasCustomPrompt="1"/>
          </p:nvPr>
        </p:nvSpPr>
        <p:spPr>
          <a:xfrm>
            <a:off x="6202674" y="3519000"/>
            <a:ext cx="5791926" cy="3150087"/>
          </a:xfrm>
          <a:solidFill>
            <a:schemeClr val="accent3"/>
          </a:solid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3519000"/>
            <a:ext cx="5808531" cy="315008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dirty="0"/>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3519000"/>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Textplatzhalter 15">
            <a:extLst>
              <a:ext uri="{FF2B5EF4-FFF2-40B4-BE49-F238E27FC236}">
                <a16:creationId xmlns:a16="http://schemas.microsoft.com/office/drawing/2014/main" id="{1612E271-F993-466D-B6CB-DBB0E0F13432}"/>
              </a:ext>
            </a:extLst>
          </p:cNvPr>
          <p:cNvSpPr>
            <a:spLocks noGrp="1"/>
          </p:cNvSpPr>
          <p:nvPr>
            <p:ph type="body" sz="quarter" idx="23"/>
          </p:nvPr>
        </p:nvSpPr>
        <p:spPr>
          <a:xfrm>
            <a:off x="196982" y="201883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89901192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8CFC9D91-A29A-4DC4-9897-FD62BD7D9239}"/>
              </a:ext>
            </a:extLst>
          </p:cNvPr>
          <p:cNvSpPr>
            <a:spLocks noGrp="1"/>
          </p:cNvSpPr>
          <p:nvPr>
            <p:ph type="pic" sz="quarter" idx="17" hasCustomPrompt="1"/>
          </p:nvPr>
        </p:nvSpPr>
        <p:spPr>
          <a:xfrm>
            <a:off x="6202674" y="188913"/>
            <a:ext cx="5791926" cy="2040058"/>
          </a:xfrm>
          <a:solidFill>
            <a:schemeClr val="accent3"/>
          </a:solidFill>
        </p:spPr>
        <p:txBody>
          <a:bodyPr>
            <a:noAutofit/>
          </a:bodyPr>
          <a:lstStyle>
            <a:lvl1pPr>
              <a:defRPr/>
            </a:lvl1pPr>
          </a:lstStyle>
          <a:p>
            <a:r>
              <a:rPr lang="en-US" dirty="0"/>
              <a:t> </a:t>
            </a:r>
          </a:p>
        </p:txBody>
      </p:sp>
      <p:sp>
        <p:nvSpPr>
          <p:cNvPr id="19" name="Bildplatzhalter 6">
            <a:extLst>
              <a:ext uri="{FF2B5EF4-FFF2-40B4-BE49-F238E27FC236}">
                <a16:creationId xmlns:a16="http://schemas.microsoft.com/office/drawing/2014/main" id="{3F5510AA-FC68-458D-9D33-F5A040C0AED0}"/>
              </a:ext>
            </a:extLst>
          </p:cNvPr>
          <p:cNvSpPr>
            <a:spLocks noGrp="1"/>
          </p:cNvSpPr>
          <p:nvPr>
            <p:ph type="pic" sz="quarter" idx="19" hasCustomPrompt="1"/>
          </p:nvPr>
        </p:nvSpPr>
        <p:spPr>
          <a:xfrm>
            <a:off x="6202674" y="4629028"/>
            <a:ext cx="5791926" cy="2040058"/>
          </a:xfrm>
          <a:solidFill>
            <a:schemeClr val="accent3"/>
          </a:solidFill>
        </p:spPr>
        <p:txBody>
          <a:bodyPr>
            <a:noAutofit/>
          </a:bodyPr>
          <a:lstStyle>
            <a:lvl1pPr>
              <a:defRPr/>
            </a:lvl1pPr>
          </a:lstStyle>
          <a:p>
            <a:r>
              <a:rPr lang="en-US" dirty="0"/>
              <a:t> </a:t>
            </a:r>
          </a:p>
        </p:txBody>
      </p:sp>
      <p:sp>
        <p:nvSpPr>
          <p:cNvPr id="20" name="Bildplatzhalter 6">
            <a:extLst>
              <a:ext uri="{FF2B5EF4-FFF2-40B4-BE49-F238E27FC236}">
                <a16:creationId xmlns:a16="http://schemas.microsoft.com/office/drawing/2014/main" id="{5406F403-6323-4A0C-B92C-05A47C31F31F}"/>
              </a:ext>
            </a:extLst>
          </p:cNvPr>
          <p:cNvSpPr>
            <a:spLocks noGrp="1"/>
          </p:cNvSpPr>
          <p:nvPr>
            <p:ph type="pic" sz="quarter" idx="24" hasCustomPrompt="1"/>
          </p:nvPr>
        </p:nvSpPr>
        <p:spPr>
          <a:xfrm>
            <a:off x="6202674" y="2408971"/>
            <a:ext cx="5791926" cy="2040058"/>
          </a:xfrm>
          <a:solidFill>
            <a:schemeClr val="accent3"/>
          </a:solidFill>
        </p:spPr>
        <p:txBody>
          <a:bodyPr>
            <a:noAutofit/>
          </a:bodyPr>
          <a:lstStyle>
            <a:lvl1pPr>
              <a:defRPr/>
            </a:lvl1pPr>
          </a:lstStyle>
          <a:p>
            <a:r>
              <a:rPr lang="en-US" dirty="0"/>
              <a:t> </a:t>
            </a:r>
          </a:p>
        </p:txBody>
      </p:sp>
      <p:sp>
        <p:nvSpPr>
          <p:cNvPr id="15" name="Titel 1">
            <a:extLst>
              <a:ext uri="{FF2B5EF4-FFF2-40B4-BE49-F238E27FC236}">
                <a16:creationId xmlns:a16="http://schemas.microsoft.com/office/drawing/2014/main" id="{7FD05370-A0B2-4F44-A11A-18774D13DD6D}"/>
              </a:ext>
            </a:extLst>
          </p:cNvPr>
          <p:cNvSpPr txBox="1">
            <a:spLocks/>
          </p:cNvSpPr>
          <p:nvPr userDrawn="1"/>
        </p:nvSpPr>
        <p:spPr bwMode="auto">
          <a:xfrm>
            <a:off x="196982" y="188912"/>
            <a:ext cx="5817113" cy="3150089"/>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endParaRPr lang="en-US" kern="0" dirty="0"/>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3519000"/>
            <a:ext cx="5808531" cy="315008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dirty="0"/>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3519000"/>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Textplatzhalter 15">
            <a:extLst>
              <a:ext uri="{FF2B5EF4-FFF2-40B4-BE49-F238E27FC236}">
                <a16:creationId xmlns:a16="http://schemas.microsoft.com/office/drawing/2014/main" id="{1612E271-F993-466D-B6CB-DBB0E0F13432}"/>
              </a:ext>
            </a:extLst>
          </p:cNvPr>
          <p:cNvSpPr>
            <a:spLocks noGrp="1"/>
          </p:cNvSpPr>
          <p:nvPr>
            <p:ph type="body" sz="quarter" idx="23"/>
          </p:nvPr>
        </p:nvSpPr>
        <p:spPr>
          <a:xfrm>
            <a:off x="196982" y="201883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149327798"/>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8CFC9D91-A29A-4DC4-9897-FD62BD7D9239}"/>
              </a:ext>
            </a:extLst>
          </p:cNvPr>
          <p:cNvSpPr>
            <a:spLocks noGrp="1"/>
          </p:cNvSpPr>
          <p:nvPr>
            <p:ph type="pic" sz="quarter" idx="17" hasCustomPrompt="1"/>
          </p:nvPr>
        </p:nvSpPr>
        <p:spPr>
          <a:xfrm>
            <a:off x="6202674" y="188913"/>
            <a:ext cx="5791926" cy="6480174"/>
          </a:xfrm>
          <a:solidFill>
            <a:schemeClr val="accent3"/>
          </a:solidFill>
        </p:spPr>
        <p:txBody>
          <a:bodyPr>
            <a:noAutofit/>
          </a:bodyPr>
          <a:lstStyle>
            <a:lvl1pPr>
              <a:defRPr/>
            </a:lvl1pPr>
          </a:lstStyle>
          <a:p>
            <a:r>
              <a:rPr lang="en-US" dirty="0"/>
              <a:t> </a:t>
            </a:r>
          </a:p>
        </p:txBody>
      </p:sp>
      <p:sp>
        <p:nvSpPr>
          <p:cNvPr id="15" name="Titel 1">
            <a:extLst>
              <a:ext uri="{FF2B5EF4-FFF2-40B4-BE49-F238E27FC236}">
                <a16:creationId xmlns:a16="http://schemas.microsoft.com/office/drawing/2014/main" id="{7FD05370-A0B2-4F44-A11A-18774D13DD6D}"/>
              </a:ext>
            </a:extLst>
          </p:cNvPr>
          <p:cNvSpPr txBox="1">
            <a:spLocks/>
          </p:cNvSpPr>
          <p:nvPr userDrawn="1"/>
        </p:nvSpPr>
        <p:spPr bwMode="auto">
          <a:xfrm>
            <a:off x="196982" y="188912"/>
            <a:ext cx="5817113" cy="2040059"/>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endParaRPr lang="en-US" kern="0" dirty="0"/>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2408971"/>
            <a:ext cx="5808531" cy="426011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dirty="0"/>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2408971"/>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Textplatzhalter 15">
            <a:extLst>
              <a:ext uri="{FF2B5EF4-FFF2-40B4-BE49-F238E27FC236}">
                <a16:creationId xmlns:a16="http://schemas.microsoft.com/office/drawing/2014/main" id="{1612E271-F993-466D-B6CB-DBB0E0F13432}"/>
              </a:ext>
            </a:extLst>
          </p:cNvPr>
          <p:cNvSpPr>
            <a:spLocks noGrp="1"/>
          </p:cNvSpPr>
          <p:nvPr>
            <p:ph type="body" sz="quarter" idx="23"/>
          </p:nvPr>
        </p:nvSpPr>
        <p:spPr>
          <a:xfrm>
            <a:off x="196982" y="90880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07121595"/>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halt mit Foto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6202674" y="188913"/>
            <a:ext cx="5791926" cy="6480175"/>
          </a:xfrm>
          <a:solidFill>
            <a:schemeClr val="accent3"/>
          </a:solidFill>
        </p:spPr>
        <p:txBody>
          <a:bodyPr>
            <a:noAutofit/>
          </a:bodyPr>
          <a:lstStyle>
            <a:lvl1pPr>
              <a:defRPr/>
            </a:lvl1pPr>
          </a:lstStyle>
          <a:p>
            <a:r>
              <a:rPr lang="en-US" dirty="0"/>
              <a:t> </a:t>
            </a: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3150087"/>
          </a:xfrm>
          <a:solidFill>
            <a:schemeClr val="bg2"/>
          </a:solidFill>
        </p:spPr>
        <p:txBody>
          <a:bodyPr vert="horz"/>
          <a:lstStyle/>
          <a:p>
            <a:r>
              <a:rPr lang="de-DE" dirty="0"/>
              <a:t>Mastertitelformat bearbeiten</a:t>
            </a:r>
            <a:endParaRPr lang="en-US" dirty="0"/>
          </a:p>
        </p:txBody>
      </p:sp>
      <p:sp>
        <p:nvSpPr>
          <p:cNvPr id="11" name="Rechteck 10">
            <a:extLst>
              <a:ext uri="{FF2B5EF4-FFF2-40B4-BE49-F238E27FC236}">
                <a16:creationId xmlns:a16="http://schemas.microsoft.com/office/drawing/2014/main" id="{BDDDE4D4-136A-491F-B28E-A3131E62ABD2}"/>
              </a:ext>
            </a:extLst>
          </p:cNvPr>
          <p:cNvSpPr/>
          <p:nvPr userDrawn="1"/>
        </p:nvSpPr>
        <p:spPr bwMode="auto">
          <a:xfrm>
            <a:off x="196982"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8" name="Textplatzhalter 15">
            <a:extLst>
              <a:ext uri="{FF2B5EF4-FFF2-40B4-BE49-F238E27FC236}">
                <a16:creationId xmlns:a16="http://schemas.microsoft.com/office/drawing/2014/main" id="{805D5EB7-0DFF-4FE1-9F41-710DF84C7B45}"/>
              </a:ext>
            </a:extLst>
          </p:cNvPr>
          <p:cNvSpPr>
            <a:spLocks noGrp="1"/>
          </p:cNvSpPr>
          <p:nvPr>
            <p:ph type="body" sz="quarter" idx="18"/>
          </p:nvPr>
        </p:nvSpPr>
        <p:spPr>
          <a:xfrm>
            <a:off x="196982" y="3519000"/>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312058426"/>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halt mit Foto 3">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BDDDE4D4-136A-491F-B28E-A3131E62ABD2}"/>
              </a:ext>
            </a:extLst>
          </p:cNvPr>
          <p:cNvSpPr/>
          <p:nvPr userDrawn="1"/>
        </p:nvSpPr>
        <p:spPr bwMode="auto">
          <a:xfrm>
            <a:off x="196982" y="3519000"/>
            <a:ext cx="2814265"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6202674" y="188913"/>
            <a:ext cx="5791926" cy="6480175"/>
          </a:xfrm>
          <a:solidFill>
            <a:schemeClr val="accent3"/>
          </a:solidFill>
        </p:spPr>
        <p:txBody>
          <a:bodyPr>
            <a:noAutofit/>
          </a:bodyPr>
          <a:lstStyle>
            <a:lvl1pPr>
              <a:defRPr/>
            </a:lvl1pPr>
          </a:lstStyle>
          <a:p>
            <a:r>
              <a:rPr lang="en-US" dirty="0"/>
              <a:t> </a:t>
            </a: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3150087"/>
          </a:xfr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defRPr lang="en-US" kern="0" dirty="0">
                <a:solidFill>
                  <a:schemeClr val="bg1"/>
                </a:solidFill>
              </a:defRPr>
            </a:lvl1pPr>
          </a:lstStyle>
          <a:p>
            <a:pPr marL="0" lvl="0" defTabSz="914400" latinLnBrk="0"/>
            <a:r>
              <a:rPr lang="de-DE" dirty="0"/>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8" name="Textplatzhalter 15">
            <a:extLst>
              <a:ext uri="{FF2B5EF4-FFF2-40B4-BE49-F238E27FC236}">
                <a16:creationId xmlns:a16="http://schemas.microsoft.com/office/drawing/2014/main" id="{805D5EB7-0DFF-4FE1-9F41-710DF84C7B45}"/>
              </a:ext>
            </a:extLst>
          </p:cNvPr>
          <p:cNvSpPr>
            <a:spLocks noGrp="1"/>
          </p:cNvSpPr>
          <p:nvPr>
            <p:ph type="body" sz="quarter" idx="18"/>
          </p:nvPr>
        </p:nvSpPr>
        <p:spPr>
          <a:xfrm>
            <a:off x="196982" y="3519000"/>
            <a:ext cx="2814265" cy="1320168"/>
          </a:xfrm>
        </p:spPr>
        <p:txBody>
          <a:bodyPr lIns="180000" tIns="136800" rIns="180000" bIns="180000"/>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Rechteck 11">
            <a:extLst>
              <a:ext uri="{FF2B5EF4-FFF2-40B4-BE49-F238E27FC236}">
                <a16:creationId xmlns:a16="http://schemas.microsoft.com/office/drawing/2014/main" id="{B284FD30-B510-46E7-8797-CA2CBBBB1392}"/>
              </a:ext>
            </a:extLst>
          </p:cNvPr>
          <p:cNvSpPr/>
          <p:nvPr userDrawn="1"/>
        </p:nvSpPr>
        <p:spPr bwMode="auto">
          <a:xfrm>
            <a:off x="3191247" y="3519000"/>
            <a:ext cx="2814266"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5" name="Textplatzhalter 15">
            <a:extLst>
              <a:ext uri="{FF2B5EF4-FFF2-40B4-BE49-F238E27FC236}">
                <a16:creationId xmlns:a16="http://schemas.microsoft.com/office/drawing/2014/main" id="{D6F51F4F-BF22-45C6-B33F-F472B2FFB33F}"/>
              </a:ext>
            </a:extLst>
          </p:cNvPr>
          <p:cNvSpPr>
            <a:spLocks noGrp="1"/>
          </p:cNvSpPr>
          <p:nvPr>
            <p:ph type="body" sz="quarter" idx="19"/>
          </p:nvPr>
        </p:nvSpPr>
        <p:spPr>
          <a:xfrm>
            <a:off x="3191247" y="3519000"/>
            <a:ext cx="2814265" cy="1320168"/>
          </a:xfrm>
        </p:spPr>
        <p:txBody>
          <a:bodyPr lIns="180000" tIns="136800" rIns="180000" bIns="180000"/>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4" name="Textplatzhalter 15">
            <a:extLst>
              <a:ext uri="{FF2B5EF4-FFF2-40B4-BE49-F238E27FC236}">
                <a16:creationId xmlns:a16="http://schemas.microsoft.com/office/drawing/2014/main" id="{58426791-2F24-4B9E-A67A-A2CA70942465}"/>
              </a:ext>
            </a:extLst>
          </p:cNvPr>
          <p:cNvSpPr>
            <a:spLocks noGrp="1"/>
          </p:cNvSpPr>
          <p:nvPr>
            <p:ph type="body" sz="quarter" idx="23"/>
          </p:nvPr>
        </p:nvSpPr>
        <p:spPr>
          <a:xfrm>
            <a:off x="196982" y="2018832"/>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978923732"/>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53387453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3150087"/>
          </a:xfrm>
          <a:solidFill>
            <a:schemeClr val="bg2"/>
          </a:solidFill>
        </p:spPr>
        <p:txBody>
          <a:bodyPr vert="horz"/>
          <a:lstStyle/>
          <a:p>
            <a:r>
              <a:rPr lang="de-DE"/>
              <a:t>Mastertitelformat bearbeiten</a:t>
            </a:r>
            <a:endParaRPr lang="en-US"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6186486" y="188912"/>
            <a:ext cx="5808531" cy="648017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1" name="Rechteck 10">
            <a:extLst>
              <a:ext uri="{FF2B5EF4-FFF2-40B4-BE49-F238E27FC236}">
                <a16:creationId xmlns:a16="http://schemas.microsoft.com/office/drawing/2014/main" id="{BDDDE4D4-136A-491F-B28E-A3131E62ABD2}"/>
              </a:ext>
            </a:extLst>
          </p:cNvPr>
          <p:cNvSpPr/>
          <p:nvPr userDrawn="1"/>
        </p:nvSpPr>
        <p:spPr bwMode="auto">
          <a:xfrm>
            <a:off x="196982"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6" name="Textplatzhalter 15">
            <a:extLst>
              <a:ext uri="{FF2B5EF4-FFF2-40B4-BE49-F238E27FC236}">
                <a16:creationId xmlns:a16="http://schemas.microsoft.com/office/drawing/2014/main" id="{594D168F-2ACC-4882-9C8A-3078B6DD104D}"/>
              </a:ext>
            </a:extLst>
          </p:cNvPr>
          <p:cNvSpPr>
            <a:spLocks noGrp="1"/>
          </p:cNvSpPr>
          <p:nvPr>
            <p:ph type="body" sz="quarter" idx="17"/>
          </p:nvPr>
        </p:nvSpPr>
        <p:spPr>
          <a:xfrm>
            <a:off x="6189662" y="188913"/>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7" name="Textplatzhalter 15">
            <a:extLst>
              <a:ext uri="{FF2B5EF4-FFF2-40B4-BE49-F238E27FC236}">
                <a16:creationId xmlns:a16="http://schemas.microsoft.com/office/drawing/2014/main" id="{3150758F-B1E9-494A-AAE4-1FCBD23FDFA0}"/>
              </a:ext>
            </a:extLst>
          </p:cNvPr>
          <p:cNvSpPr>
            <a:spLocks noGrp="1"/>
          </p:cNvSpPr>
          <p:nvPr>
            <p:ph type="body" sz="quarter" idx="18"/>
          </p:nvPr>
        </p:nvSpPr>
        <p:spPr>
          <a:xfrm>
            <a:off x="196982" y="3519000"/>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060577955"/>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nhalt mit Foto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196982" y="188913"/>
            <a:ext cx="5791926" cy="6480175"/>
          </a:xfrm>
          <a:solidFill>
            <a:schemeClr val="accent3"/>
          </a:solidFill>
        </p:spPr>
        <p:txBody>
          <a:bodyPr>
            <a:noAutofit/>
          </a:bodyPr>
          <a:lstStyle>
            <a:lvl1pPr>
              <a:defRPr/>
            </a:lvl1pPr>
          </a:lstStyle>
          <a:p>
            <a:r>
              <a:rPr lang="en-US" dirty="0"/>
              <a:t> </a:t>
            </a:r>
          </a:p>
        </p:txBody>
      </p:sp>
      <p:sp>
        <p:nvSpPr>
          <p:cNvPr id="18" name="Bildplatzhalter 6">
            <a:extLst>
              <a:ext uri="{FF2B5EF4-FFF2-40B4-BE49-F238E27FC236}">
                <a16:creationId xmlns:a16="http://schemas.microsoft.com/office/drawing/2014/main" id="{6C9A7E67-0E3A-4A64-9FA6-B2D1B5C7F768}"/>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6202674"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dirty="0"/>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6202674" y="188913"/>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6380824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nhalt mit Foto 5">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7CC27BA-4153-486A-BB36-41E4CE098B16}"/>
              </a:ext>
            </a:extLst>
          </p:cNvPr>
          <p:cNvSpPr/>
          <p:nvPr userDrawn="1"/>
        </p:nvSpPr>
        <p:spPr bwMode="auto">
          <a:xfrm>
            <a:off x="6202674"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213587" y="188913"/>
            <a:ext cx="5791926" cy="6480175"/>
          </a:xfrm>
          <a:solidFill>
            <a:schemeClr val="accent3"/>
          </a:solid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7" name="Textplatzhalter 15">
            <a:extLst>
              <a:ext uri="{FF2B5EF4-FFF2-40B4-BE49-F238E27FC236}">
                <a16:creationId xmlns:a16="http://schemas.microsoft.com/office/drawing/2014/main" id="{F0EC5D95-E1FE-48B5-ACB1-D1BECA67733F}"/>
              </a:ext>
            </a:extLst>
          </p:cNvPr>
          <p:cNvSpPr>
            <a:spLocks noGrp="1"/>
          </p:cNvSpPr>
          <p:nvPr>
            <p:ph type="body" sz="quarter" idx="20"/>
          </p:nvPr>
        </p:nvSpPr>
        <p:spPr>
          <a:xfrm>
            <a:off x="6202674" y="3519000"/>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9" name="Rechteck 18">
            <a:extLst>
              <a:ext uri="{FF2B5EF4-FFF2-40B4-BE49-F238E27FC236}">
                <a16:creationId xmlns:a16="http://schemas.microsoft.com/office/drawing/2014/main" id="{39E91C94-4FDD-4169-B1DE-38DE2CD4E21B}"/>
              </a:ext>
            </a:extLst>
          </p:cNvPr>
          <p:cNvSpPr/>
          <p:nvPr userDrawn="1"/>
        </p:nvSpPr>
        <p:spPr bwMode="auto">
          <a:xfrm>
            <a:off x="6202674" y="188913"/>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Textplatzhalter 15">
            <a:extLst>
              <a:ext uri="{FF2B5EF4-FFF2-40B4-BE49-F238E27FC236}">
                <a16:creationId xmlns:a16="http://schemas.microsoft.com/office/drawing/2014/main" id="{D8507917-8760-4A47-ADC4-24880E79C2DB}"/>
              </a:ext>
            </a:extLst>
          </p:cNvPr>
          <p:cNvSpPr>
            <a:spLocks noGrp="1"/>
          </p:cNvSpPr>
          <p:nvPr>
            <p:ph type="body" sz="quarter" idx="21"/>
          </p:nvPr>
        </p:nvSpPr>
        <p:spPr>
          <a:xfrm>
            <a:off x="6202674" y="188913"/>
            <a:ext cx="5808531" cy="1693983"/>
          </a:xfrm>
        </p:spPr>
        <p:txBody>
          <a:bodyPr lIns="180000" tIns="126000" rIns="180000" bIns="18000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1" name="Bildplatzhalter 6">
            <a:extLst>
              <a:ext uri="{FF2B5EF4-FFF2-40B4-BE49-F238E27FC236}">
                <a16:creationId xmlns:a16="http://schemas.microsoft.com/office/drawing/2014/main" id="{64AAE6B5-132B-484A-A993-990C2BE73C5E}"/>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4" name="Titel 3">
            <a:extLst>
              <a:ext uri="{FF2B5EF4-FFF2-40B4-BE49-F238E27FC236}">
                <a16:creationId xmlns:a16="http://schemas.microsoft.com/office/drawing/2014/main" id="{67056B68-98FD-4B82-A543-0053D103A3FC}"/>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dirty="0"/>
              <a:t>Mastertitelformat bearbeiten</a:t>
            </a:r>
            <a:endParaRPr lang="en-US" dirty="0"/>
          </a:p>
        </p:txBody>
      </p:sp>
    </p:spTree>
    <p:extLst>
      <p:ext uri="{BB962C8B-B14F-4D97-AF65-F5344CB8AC3E}">
        <p14:creationId xmlns:p14="http://schemas.microsoft.com/office/powerpoint/2010/main" val="3968486490"/>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Inhalt mit Foto 5">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7CC27BA-4153-486A-BB36-41E4CE098B16}"/>
              </a:ext>
            </a:extLst>
          </p:cNvPr>
          <p:cNvSpPr/>
          <p:nvPr userDrawn="1"/>
        </p:nvSpPr>
        <p:spPr bwMode="auto">
          <a:xfrm>
            <a:off x="6202674" y="4629029"/>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Bildplatzhalter 6">
            <a:extLst>
              <a:ext uri="{FF2B5EF4-FFF2-40B4-BE49-F238E27FC236}">
                <a16:creationId xmlns:a16="http://schemas.microsoft.com/office/drawing/2014/main" id="{F183BF58-D95A-43ED-9D38-EBE9ADA7D138}"/>
              </a:ext>
            </a:extLst>
          </p:cNvPr>
          <p:cNvSpPr>
            <a:spLocks noGrp="1" noChangeAspect="1"/>
          </p:cNvSpPr>
          <p:nvPr>
            <p:ph type="pic" sz="quarter" idx="17" hasCustomPrompt="1"/>
          </p:nvPr>
        </p:nvSpPr>
        <p:spPr>
          <a:xfrm>
            <a:off x="213587" y="188913"/>
            <a:ext cx="5791926" cy="6480175"/>
          </a:xfrm>
          <a:solidFill>
            <a:schemeClr val="accent3"/>
          </a:solid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7" name="Textplatzhalter 15">
            <a:extLst>
              <a:ext uri="{FF2B5EF4-FFF2-40B4-BE49-F238E27FC236}">
                <a16:creationId xmlns:a16="http://schemas.microsoft.com/office/drawing/2014/main" id="{F0EC5D95-E1FE-48B5-ACB1-D1BECA67733F}"/>
              </a:ext>
            </a:extLst>
          </p:cNvPr>
          <p:cNvSpPr>
            <a:spLocks noGrp="1"/>
          </p:cNvSpPr>
          <p:nvPr>
            <p:ph type="body" sz="quarter" idx="20"/>
          </p:nvPr>
        </p:nvSpPr>
        <p:spPr>
          <a:xfrm>
            <a:off x="6202674" y="4629029"/>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9" name="Rechteck 18">
            <a:extLst>
              <a:ext uri="{FF2B5EF4-FFF2-40B4-BE49-F238E27FC236}">
                <a16:creationId xmlns:a16="http://schemas.microsoft.com/office/drawing/2014/main" id="{39E91C94-4FDD-4169-B1DE-38DE2CD4E21B}"/>
              </a:ext>
            </a:extLst>
          </p:cNvPr>
          <p:cNvSpPr/>
          <p:nvPr userDrawn="1"/>
        </p:nvSpPr>
        <p:spPr bwMode="auto">
          <a:xfrm>
            <a:off x="6202674" y="188913"/>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0" name="Textplatzhalter 15">
            <a:extLst>
              <a:ext uri="{FF2B5EF4-FFF2-40B4-BE49-F238E27FC236}">
                <a16:creationId xmlns:a16="http://schemas.microsoft.com/office/drawing/2014/main" id="{D8507917-8760-4A47-ADC4-24880E79C2DB}"/>
              </a:ext>
            </a:extLst>
          </p:cNvPr>
          <p:cNvSpPr>
            <a:spLocks noGrp="1"/>
          </p:cNvSpPr>
          <p:nvPr>
            <p:ph type="body" sz="quarter" idx="21"/>
          </p:nvPr>
        </p:nvSpPr>
        <p:spPr>
          <a:xfrm>
            <a:off x="6202674" y="188913"/>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21" name="Bildplatzhalter 6">
            <a:extLst>
              <a:ext uri="{FF2B5EF4-FFF2-40B4-BE49-F238E27FC236}">
                <a16:creationId xmlns:a16="http://schemas.microsoft.com/office/drawing/2014/main" id="{64AAE6B5-132B-484A-A993-990C2BE73C5E}"/>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4" name="Titel 3">
            <a:extLst>
              <a:ext uri="{FF2B5EF4-FFF2-40B4-BE49-F238E27FC236}">
                <a16:creationId xmlns:a16="http://schemas.microsoft.com/office/drawing/2014/main" id="{67056B68-98FD-4B82-A543-0053D103A3FC}"/>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dirty="0"/>
              <a:t>Mastertitelformat bearbeiten</a:t>
            </a:r>
            <a:endParaRPr lang="en-US" dirty="0"/>
          </a:p>
        </p:txBody>
      </p:sp>
      <p:sp>
        <p:nvSpPr>
          <p:cNvPr id="22" name="Rechteck 21">
            <a:extLst>
              <a:ext uri="{FF2B5EF4-FFF2-40B4-BE49-F238E27FC236}">
                <a16:creationId xmlns:a16="http://schemas.microsoft.com/office/drawing/2014/main" id="{436F3214-98E8-4531-8B07-7F0495DB094E}"/>
              </a:ext>
            </a:extLst>
          </p:cNvPr>
          <p:cNvSpPr/>
          <p:nvPr userDrawn="1"/>
        </p:nvSpPr>
        <p:spPr bwMode="auto">
          <a:xfrm>
            <a:off x="6202674" y="2408971"/>
            <a:ext cx="5808531" cy="2040060"/>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3" name="Textplatzhalter 15">
            <a:extLst>
              <a:ext uri="{FF2B5EF4-FFF2-40B4-BE49-F238E27FC236}">
                <a16:creationId xmlns:a16="http://schemas.microsoft.com/office/drawing/2014/main" id="{8059B8EE-5398-4E65-9782-3FDDAA8848E7}"/>
              </a:ext>
            </a:extLst>
          </p:cNvPr>
          <p:cNvSpPr>
            <a:spLocks noGrp="1"/>
          </p:cNvSpPr>
          <p:nvPr>
            <p:ph type="body" sz="quarter" idx="22"/>
          </p:nvPr>
        </p:nvSpPr>
        <p:spPr>
          <a:xfrm>
            <a:off x="6202674" y="2408971"/>
            <a:ext cx="5808531" cy="1309262"/>
          </a:xfrm>
        </p:spPr>
        <p:txBody>
          <a:bodyPr lIns="180000" tIns="126000" rIns="180000" bIns="180000"/>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357575087"/>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halt mit Foto 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196982" y="188913"/>
            <a:ext cx="7816148" cy="6480175"/>
          </a:xfrm>
          <a:solidFill>
            <a:schemeClr val="accent3"/>
          </a:solidFill>
        </p:spPr>
        <p:txBody>
          <a:bodyPr>
            <a:noAutofit/>
          </a:bodyPr>
          <a:lstStyle>
            <a:lvl1pPr>
              <a:defRPr/>
            </a:lvl1pPr>
          </a:lstStyle>
          <a:p>
            <a:r>
              <a:rPr lang="en-US" dirty="0"/>
              <a:t> </a:t>
            </a:r>
          </a:p>
        </p:txBody>
      </p:sp>
      <p:sp>
        <p:nvSpPr>
          <p:cNvPr id="18" name="Bildplatzhalter 6">
            <a:extLst>
              <a:ext uri="{FF2B5EF4-FFF2-40B4-BE49-F238E27FC236}">
                <a16:creationId xmlns:a16="http://schemas.microsoft.com/office/drawing/2014/main" id="{6C9A7E67-0E3A-4A64-9FA6-B2D1B5C7F768}"/>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8193129" y="188913"/>
            <a:ext cx="3818075"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8" cy="706311"/>
          </a:xfrm>
        </p:spPr>
        <p:txBody>
          <a:bodyPr vert="horz">
            <a:spAutoFit/>
          </a:bodyPr>
          <a:lstStyle>
            <a:lvl1pPr>
              <a:defRPr>
                <a:solidFill>
                  <a:schemeClr val="bg1"/>
                </a:solidFill>
              </a:defRPr>
            </a:lvl1pPr>
          </a:lstStyle>
          <a:p>
            <a:r>
              <a:rPr lang="de-DE" dirty="0"/>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8193129" y="188913"/>
            <a:ext cx="3818075"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54178734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Inhalt mit Foto 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1" y="188913"/>
            <a:ext cx="3818075"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4195057" y="188913"/>
            <a:ext cx="7816148" cy="6480175"/>
          </a:xfrm>
          <a:solidFill>
            <a:schemeClr val="accent3"/>
          </a:solid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tx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3818075" cy="1121809"/>
          </a:xfrm>
        </p:spPr>
        <p:txBody>
          <a:bodyPr vert="horz">
            <a:spAutoFit/>
          </a:bodyPr>
          <a:lstStyle>
            <a:lvl1pPr>
              <a:defRPr>
                <a:solidFill>
                  <a:schemeClr val="tx2"/>
                </a:solidFill>
              </a:defRPr>
            </a:lvl1pPr>
          </a:lstStyle>
          <a:p>
            <a:r>
              <a:rPr lang="de-DE" dirty="0"/>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1559777"/>
            <a:ext cx="3818075"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Grafik 46">
            <a:extLst>
              <a:ext uri="{FF2B5EF4-FFF2-40B4-BE49-F238E27FC236}">
                <a16:creationId xmlns:a16="http://schemas.microsoft.com/office/drawing/2014/main" id="{202A8F0B-AC33-4B9F-BDE7-6B6A0521FECB}"/>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708235241"/>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Inhalt mit Foto 6">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59B5E0DC-422F-43DD-BA99-0DA230D52EF3}"/>
              </a:ext>
            </a:extLst>
          </p:cNvPr>
          <p:cNvSpPr/>
          <p:nvPr userDrawn="1"/>
        </p:nvSpPr>
        <p:spPr bwMode="auto">
          <a:xfrm>
            <a:off x="8193129" y="3519000"/>
            <a:ext cx="3818075"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196982" y="188913"/>
            <a:ext cx="7816148" cy="6480175"/>
          </a:xfrm>
          <a:solidFill>
            <a:schemeClr val="accent3"/>
          </a:solidFill>
        </p:spPr>
        <p:txBody>
          <a:bodyPr>
            <a:noAutofit/>
          </a:bodyPr>
          <a:lstStyle>
            <a:lvl1pPr>
              <a:defRPr/>
            </a:lvl1pPr>
          </a:lstStyle>
          <a:p>
            <a:r>
              <a:rPr lang="en-US" dirty="0"/>
              <a:t> </a:t>
            </a:r>
          </a:p>
        </p:txBody>
      </p:sp>
      <p:sp>
        <p:nvSpPr>
          <p:cNvPr id="18" name="Bildplatzhalter 6">
            <a:extLst>
              <a:ext uri="{FF2B5EF4-FFF2-40B4-BE49-F238E27FC236}">
                <a16:creationId xmlns:a16="http://schemas.microsoft.com/office/drawing/2014/main" id="{6C9A7E67-0E3A-4A64-9FA6-B2D1B5C7F768}"/>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1" y="188913"/>
            <a:ext cx="7816148" cy="706311"/>
          </a:xfrm>
        </p:spPr>
        <p:txBody>
          <a:bodyPr vert="horz">
            <a:spAutoFit/>
          </a:bodyPr>
          <a:lstStyle>
            <a:lvl1pPr>
              <a:defRPr>
                <a:solidFill>
                  <a:schemeClr val="bg1"/>
                </a:solidFill>
              </a:defRPr>
            </a:lvl1pPr>
          </a:lstStyle>
          <a:p>
            <a:r>
              <a:rPr lang="de-DE" dirty="0"/>
              <a:t>Mastertitelformat bearbeiten</a:t>
            </a:r>
            <a:endParaRPr lang="en-US" dirty="0"/>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3" name="Rechteck 12">
            <a:extLst>
              <a:ext uri="{FF2B5EF4-FFF2-40B4-BE49-F238E27FC236}">
                <a16:creationId xmlns:a16="http://schemas.microsoft.com/office/drawing/2014/main" id="{1EDEF28B-882E-49ED-B2DD-3009F81527E1}"/>
              </a:ext>
            </a:extLst>
          </p:cNvPr>
          <p:cNvSpPr/>
          <p:nvPr userDrawn="1"/>
        </p:nvSpPr>
        <p:spPr bwMode="auto">
          <a:xfrm>
            <a:off x="8193129" y="188912"/>
            <a:ext cx="3818075"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6" name="Textplatzhalter 15">
            <a:extLst>
              <a:ext uri="{FF2B5EF4-FFF2-40B4-BE49-F238E27FC236}">
                <a16:creationId xmlns:a16="http://schemas.microsoft.com/office/drawing/2014/main" id="{EF6426DD-807F-4C54-B2D2-B3479D586731}"/>
              </a:ext>
            </a:extLst>
          </p:cNvPr>
          <p:cNvSpPr>
            <a:spLocks noGrp="1"/>
          </p:cNvSpPr>
          <p:nvPr>
            <p:ph type="body" sz="quarter" idx="18"/>
          </p:nvPr>
        </p:nvSpPr>
        <p:spPr>
          <a:xfrm>
            <a:off x="8193129" y="188913"/>
            <a:ext cx="3818075"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extplatzhalter 15">
            <a:extLst>
              <a:ext uri="{FF2B5EF4-FFF2-40B4-BE49-F238E27FC236}">
                <a16:creationId xmlns:a16="http://schemas.microsoft.com/office/drawing/2014/main" id="{A5F27AC5-3103-41E2-8C0A-C959D52CCCEA}"/>
              </a:ext>
            </a:extLst>
          </p:cNvPr>
          <p:cNvSpPr>
            <a:spLocks noGrp="1"/>
          </p:cNvSpPr>
          <p:nvPr>
            <p:ph type="body" sz="quarter" idx="20"/>
          </p:nvPr>
        </p:nvSpPr>
        <p:spPr>
          <a:xfrm>
            <a:off x="8193129" y="3519000"/>
            <a:ext cx="3818075"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70217316"/>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nhalt mit Foto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Bildplatzhalter 6">
            <a:extLst>
              <a:ext uri="{FF2B5EF4-FFF2-40B4-BE49-F238E27FC236}">
                <a16:creationId xmlns:a16="http://schemas.microsoft.com/office/drawing/2014/main" id="{F0BEF310-0C23-4E2E-B70B-69B661AD05A6}"/>
              </a:ext>
            </a:extLst>
          </p:cNvPr>
          <p:cNvSpPr>
            <a:spLocks noGrp="1" noChangeAspect="1"/>
          </p:cNvSpPr>
          <p:nvPr>
            <p:ph type="pic" sz="quarter" idx="17" hasCustomPrompt="1"/>
          </p:nvPr>
        </p:nvSpPr>
        <p:spPr>
          <a:xfrm>
            <a:off x="213587" y="3519000"/>
            <a:ext cx="5800508" cy="3150088"/>
          </a:xfrm>
          <a:solidFill>
            <a:schemeClr val="accent3"/>
          </a:solidFill>
        </p:spPr>
        <p:txBody>
          <a:bodyPr>
            <a:noAutofit/>
          </a:bodyPr>
          <a:lstStyle>
            <a:lvl1pPr>
              <a:defRPr/>
            </a:lvl1pPr>
          </a:lstStyle>
          <a:p>
            <a:r>
              <a:rPr lang="en-US" dirty="0"/>
              <a:t> </a:t>
            </a:r>
          </a:p>
        </p:txBody>
      </p:sp>
      <p:sp>
        <p:nvSpPr>
          <p:cNvPr id="32" name="Rechteck 31">
            <a:extLst>
              <a:ext uri="{FF2B5EF4-FFF2-40B4-BE49-F238E27FC236}">
                <a16:creationId xmlns:a16="http://schemas.microsoft.com/office/drawing/2014/main" id="{57B8B345-5041-4C96-AF53-2790902268E1}"/>
              </a:ext>
            </a:extLst>
          </p:cNvPr>
          <p:cNvSpPr/>
          <p:nvPr userDrawn="1"/>
        </p:nvSpPr>
        <p:spPr bwMode="auto">
          <a:xfrm>
            <a:off x="6194094"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6194094"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17113" cy="3150089"/>
          </a:xfrm>
          <a:gradFill flip="none" rotWithShape="1">
            <a:gsLst>
              <a:gs pos="0">
                <a:schemeClr val="tx2"/>
              </a:gs>
              <a:gs pos="100000">
                <a:schemeClr val="accent6"/>
              </a:gs>
            </a:gsLst>
            <a:lin ang="10800000" scaled="1"/>
            <a:tileRect/>
          </a:gradFill>
        </p:spPr>
        <p:txBody>
          <a:bodyPr vert="horz">
            <a:noAutofit/>
          </a:bodyPr>
          <a:lstStyle>
            <a:lvl1pPr>
              <a:defRPr>
                <a:solidFill>
                  <a:schemeClr val="bg1"/>
                </a:solidFill>
              </a:defRPr>
            </a:lvl1pPr>
          </a:lstStyle>
          <a:p>
            <a:r>
              <a:rPr lang="de-DE" dirty="0"/>
              <a:t>Mastertitelformat bearbeiten</a:t>
            </a: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9192648"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9192648"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3" name="Bildplatzhalter 6">
            <a:extLst>
              <a:ext uri="{FF2B5EF4-FFF2-40B4-BE49-F238E27FC236}">
                <a16:creationId xmlns:a16="http://schemas.microsoft.com/office/drawing/2014/main" id="{209EF3E5-4F5B-43E2-9A06-D9C1B6C577D2}"/>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15" name="Textplatzhalter 15">
            <a:extLst>
              <a:ext uri="{FF2B5EF4-FFF2-40B4-BE49-F238E27FC236}">
                <a16:creationId xmlns:a16="http://schemas.microsoft.com/office/drawing/2014/main" id="{C9EEAF33-9454-4E26-A0F3-0F78B82CDD9B}"/>
              </a:ext>
            </a:extLst>
          </p:cNvPr>
          <p:cNvSpPr>
            <a:spLocks noGrp="1"/>
          </p:cNvSpPr>
          <p:nvPr>
            <p:ph type="body" sz="quarter" idx="18"/>
          </p:nvPr>
        </p:nvSpPr>
        <p:spPr>
          <a:xfrm>
            <a:off x="9192648" y="188913"/>
            <a:ext cx="2818557"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Textplatzhalter 15">
            <a:extLst>
              <a:ext uri="{FF2B5EF4-FFF2-40B4-BE49-F238E27FC236}">
                <a16:creationId xmlns:a16="http://schemas.microsoft.com/office/drawing/2014/main" id="{0A56ED20-7C85-4E71-9AA6-81C26B332E28}"/>
              </a:ext>
            </a:extLst>
          </p:cNvPr>
          <p:cNvSpPr>
            <a:spLocks noGrp="1"/>
          </p:cNvSpPr>
          <p:nvPr>
            <p:ph type="body" sz="quarter" idx="20"/>
          </p:nvPr>
        </p:nvSpPr>
        <p:spPr>
          <a:xfrm>
            <a:off x="9192648" y="3519000"/>
            <a:ext cx="2818557"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extplatzhalter 15">
            <a:extLst>
              <a:ext uri="{FF2B5EF4-FFF2-40B4-BE49-F238E27FC236}">
                <a16:creationId xmlns:a16="http://schemas.microsoft.com/office/drawing/2014/main" id="{92F67DE6-AA9B-4D2E-A851-F587BA328F17}"/>
              </a:ext>
            </a:extLst>
          </p:cNvPr>
          <p:cNvSpPr>
            <a:spLocks noGrp="1"/>
          </p:cNvSpPr>
          <p:nvPr>
            <p:ph type="body" sz="quarter" idx="21"/>
          </p:nvPr>
        </p:nvSpPr>
        <p:spPr>
          <a:xfrm>
            <a:off x="6194093" y="188913"/>
            <a:ext cx="2818557"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15">
            <a:extLst>
              <a:ext uri="{FF2B5EF4-FFF2-40B4-BE49-F238E27FC236}">
                <a16:creationId xmlns:a16="http://schemas.microsoft.com/office/drawing/2014/main" id="{198EB1FD-F94F-43F3-8DDC-CAC52C27968B}"/>
              </a:ext>
            </a:extLst>
          </p:cNvPr>
          <p:cNvSpPr>
            <a:spLocks noGrp="1"/>
          </p:cNvSpPr>
          <p:nvPr>
            <p:ph type="body" sz="quarter" idx="22"/>
          </p:nvPr>
        </p:nvSpPr>
        <p:spPr>
          <a:xfrm>
            <a:off x="6194093" y="3519000"/>
            <a:ext cx="2818557" cy="1970982"/>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9" name="Textplatzhalter 15">
            <a:extLst>
              <a:ext uri="{FF2B5EF4-FFF2-40B4-BE49-F238E27FC236}">
                <a16:creationId xmlns:a16="http://schemas.microsoft.com/office/drawing/2014/main" id="{AE66E386-01DA-4D5A-9C22-24311764312E}"/>
              </a:ext>
            </a:extLst>
          </p:cNvPr>
          <p:cNvSpPr>
            <a:spLocks noGrp="1"/>
          </p:cNvSpPr>
          <p:nvPr>
            <p:ph type="body" sz="quarter" idx="23"/>
          </p:nvPr>
        </p:nvSpPr>
        <p:spPr>
          <a:xfrm>
            <a:off x="196982" y="1941889"/>
            <a:ext cx="5817113" cy="1397112"/>
          </a:xfrm>
        </p:spPr>
        <p:txBody>
          <a:bodyPr lIns="180000" tIns="136800" rIns="180000" bIns="180000" anchor="b"/>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459967480"/>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Inhalt mit Foto 7">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Bildplatzhalter 6">
            <a:extLst>
              <a:ext uri="{FF2B5EF4-FFF2-40B4-BE49-F238E27FC236}">
                <a16:creationId xmlns:a16="http://schemas.microsoft.com/office/drawing/2014/main" id="{F0BEF310-0C23-4E2E-B70B-69B661AD05A6}"/>
              </a:ext>
            </a:extLst>
          </p:cNvPr>
          <p:cNvSpPr>
            <a:spLocks noGrp="1" noChangeAspect="1"/>
          </p:cNvSpPr>
          <p:nvPr>
            <p:ph type="pic" sz="quarter" idx="17" hasCustomPrompt="1"/>
          </p:nvPr>
        </p:nvSpPr>
        <p:spPr>
          <a:xfrm>
            <a:off x="213587" y="188912"/>
            <a:ext cx="5800508" cy="6480175"/>
          </a:xfrm>
          <a:solidFill>
            <a:schemeClr val="accent3"/>
          </a:solidFill>
        </p:spPr>
        <p:txBody>
          <a:bodyPr>
            <a:noAutofit/>
          </a:bodyPr>
          <a:lstStyle>
            <a:lvl1pPr>
              <a:defRPr/>
            </a:lvl1pPr>
          </a:lstStyle>
          <a:p>
            <a:r>
              <a:rPr lang="en-US" dirty="0"/>
              <a:t> </a:t>
            </a:r>
          </a:p>
        </p:txBody>
      </p:sp>
      <p:sp>
        <p:nvSpPr>
          <p:cNvPr id="32" name="Rechteck 31">
            <a:extLst>
              <a:ext uri="{FF2B5EF4-FFF2-40B4-BE49-F238E27FC236}">
                <a16:creationId xmlns:a16="http://schemas.microsoft.com/office/drawing/2014/main" id="{57B8B345-5041-4C96-AF53-2790902268E1}"/>
              </a:ext>
            </a:extLst>
          </p:cNvPr>
          <p:cNvSpPr>
            <a:spLocks/>
          </p:cNvSpPr>
          <p:nvPr userDrawn="1"/>
        </p:nvSpPr>
        <p:spPr bwMode="auto">
          <a:xfrm>
            <a:off x="6194094"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3" name="Rechteck 32">
            <a:extLst>
              <a:ext uri="{FF2B5EF4-FFF2-40B4-BE49-F238E27FC236}">
                <a16:creationId xmlns:a16="http://schemas.microsoft.com/office/drawing/2014/main" id="{2891E219-6223-40EF-847C-5E9621A93A37}"/>
              </a:ext>
            </a:extLst>
          </p:cNvPr>
          <p:cNvSpPr/>
          <p:nvPr userDrawn="1"/>
        </p:nvSpPr>
        <p:spPr bwMode="auto">
          <a:xfrm>
            <a:off x="6194094"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solidFill>
                  <a:schemeClr val="bg1"/>
                </a:solidFill>
              </a:defRPr>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17113" cy="706311"/>
          </a:xfrm>
          <a:noFill/>
        </p:spPr>
        <p:txBody>
          <a:bodyPr vert="horz">
            <a:spAutoFit/>
          </a:bodyPr>
          <a:lstStyle>
            <a:lvl1pPr>
              <a:defRPr>
                <a:solidFill>
                  <a:schemeClr val="bg1"/>
                </a:solidFill>
              </a:defRPr>
            </a:lvl1pPr>
          </a:lstStyle>
          <a:p>
            <a:r>
              <a:rPr lang="de-DE" dirty="0"/>
              <a:t>Mastertitelformat bearbeiten</a:t>
            </a:r>
            <a:endParaRPr lang="en-US" dirty="0"/>
          </a:p>
        </p:txBody>
      </p:sp>
      <p:sp>
        <p:nvSpPr>
          <p:cNvPr id="30" name="Rechteck 29">
            <a:extLst>
              <a:ext uri="{FF2B5EF4-FFF2-40B4-BE49-F238E27FC236}">
                <a16:creationId xmlns:a16="http://schemas.microsoft.com/office/drawing/2014/main" id="{2D6A7494-83A7-4F4A-A4E0-B9BDEDAC7522}"/>
              </a:ext>
            </a:extLst>
          </p:cNvPr>
          <p:cNvSpPr/>
          <p:nvPr userDrawn="1"/>
        </p:nvSpPr>
        <p:spPr bwMode="auto">
          <a:xfrm>
            <a:off x="9192648" y="188912"/>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31" name="Rechteck 30">
            <a:extLst>
              <a:ext uri="{FF2B5EF4-FFF2-40B4-BE49-F238E27FC236}">
                <a16:creationId xmlns:a16="http://schemas.microsoft.com/office/drawing/2014/main" id="{0C2C257D-21AC-4B51-99D2-F9C1FA3A43E8}"/>
              </a:ext>
            </a:extLst>
          </p:cNvPr>
          <p:cNvSpPr/>
          <p:nvPr userDrawn="1"/>
        </p:nvSpPr>
        <p:spPr bwMode="auto">
          <a:xfrm>
            <a:off x="9192648" y="3519000"/>
            <a:ext cx="2818557"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lvl1pPr>
              <a:defRPr>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3" name="Bildplatzhalter 6">
            <a:extLst>
              <a:ext uri="{FF2B5EF4-FFF2-40B4-BE49-F238E27FC236}">
                <a16:creationId xmlns:a16="http://schemas.microsoft.com/office/drawing/2014/main" id="{209EF3E5-4F5B-43E2-9A06-D9C1B6C577D2}"/>
              </a:ext>
            </a:extLst>
          </p:cNvPr>
          <p:cNvSpPr>
            <a:spLocks noGrp="1" noChangeAspect="1"/>
          </p:cNvSpPr>
          <p:nvPr>
            <p:ph type="pic" sz="quarter" idx="19" hasCustomPrompt="1"/>
          </p:nvPr>
        </p:nvSpPr>
        <p:spPr>
          <a:xfrm>
            <a:off x="371475" y="6289735"/>
            <a:ext cx="197073" cy="199965"/>
          </a:xfrm>
          <a:blipFill>
            <a:blip r:embed="rId5"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15" name="Textplatzhalter 15">
            <a:extLst>
              <a:ext uri="{FF2B5EF4-FFF2-40B4-BE49-F238E27FC236}">
                <a16:creationId xmlns:a16="http://schemas.microsoft.com/office/drawing/2014/main" id="{C9EEAF33-9454-4E26-A0F3-0F78B82CDD9B}"/>
              </a:ext>
            </a:extLst>
          </p:cNvPr>
          <p:cNvSpPr>
            <a:spLocks noGrp="1"/>
          </p:cNvSpPr>
          <p:nvPr>
            <p:ph type="body" sz="quarter" idx="18"/>
          </p:nvPr>
        </p:nvSpPr>
        <p:spPr>
          <a:xfrm>
            <a:off x="9192648" y="188913"/>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Textplatzhalter 15">
            <a:extLst>
              <a:ext uri="{FF2B5EF4-FFF2-40B4-BE49-F238E27FC236}">
                <a16:creationId xmlns:a16="http://schemas.microsoft.com/office/drawing/2014/main" id="{0A56ED20-7C85-4E71-9AA6-81C26B332E28}"/>
              </a:ext>
            </a:extLst>
          </p:cNvPr>
          <p:cNvSpPr>
            <a:spLocks noGrp="1"/>
          </p:cNvSpPr>
          <p:nvPr>
            <p:ph type="body" sz="quarter" idx="20"/>
          </p:nvPr>
        </p:nvSpPr>
        <p:spPr>
          <a:xfrm>
            <a:off x="9192648" y="3519000"/>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Textplatzhalter 15">
            <a:extLst>
              <a:ext uri="{FF2B5EF4-FFF2-40B4-BE49-F238E27FC236}">
                <a16:creationId xmlns:a16="http://schemas.microsoft.com/office/drawing/2014/main" id="{92F67DE6-AA9B-4D2E-A851-F587BA328F17}"/>
              </a:ext>
            </a:extLst>
          </p:cNvPr>
          <p:cNvSpPr>
            <a:spLocks noGrp="1"/>
          </p:cNvSpPr>
          <p:nvPr>
            <p:ph type="body" sz="quarter" idx="21"/>
          </p:nvPr>
        </p:nvSpPr>
        <p:spPr>
          <a:xfrm>
            <a:off x="6194093" y="188913"/>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8" name="Textplatzhalter 15">
            <a:extLst>
              <a:ext uri="{FF2B5EF4-FFF2-40B4-BE49-F238E27FC236}">
                <a16:creationId xmlns:a16="http://schemas.microsoft.com/office/drawing/2014/main" id="{198EB1FD-F94F-43F3-8DDC-CAC52C27968B}"/>
              </a:ext>
            </a:extLst>
          </p:cNvPr>
          <p:cNvSpPr>
            <a:spLocks noGrp="1"/>
          </p:cNvSpPr>
          <p:nvPr>
            <p:ph type="body" sz="quarter" idx="22"/>
          </p:nvPr>
        </p:nvSpPr>
        <p:spPr>
          <a:xfrm>
            <a:off x="6194093" y="3519000"/>
            <a:ext cx="2818557" cy="1309262"/>
          </a:xfrm>
        </p:spPr>
        <p:txBody>
          <a:bodyPr>
            <a:spAutoFit/>
          </a:bodyPr>
          <a:lstStyle>
            <a:lvl1pPr>
              <a:defRPr sz="1300"/>
            </a:lvl1pPr>
            <a:lvl2pPr>
              <a:defRPr sz="1300"/>
            </a:lvl2pPr>
            <a:lvl3pPr>
              <a:defRPr sz="1300"/>
            </a:lvl3pPr>
            <a:lvl4pPr>
              <a:defRPr sz="1300"/>
            </a:lvl4pPr>
            <a:lvl5pPr>
              <a:defRPr sz="13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732122629"/>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chlussfolie_bl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252DA38F-1A8E-4D40-AECF-BCEAA3DEBF5A}"/>
              </a:ext>
            </a:extLst>
          </p:cNvPr>
          <p:cNvSpPr/>
          <p:nvPr userDrawn="1"/>
        </p:nvSpPr>
        <p:spPr bwMode="auto">
          <a:xfrm>
            <a:off x="197400" y="188913"/>
            <a:ext cx="11797200" cy="64801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bg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9094" y="6279356"/>
            <a:ext cx="1038599" cy="212725"/>
          </a:xfrm>
          <a:prstGeom prst="rect">
            <a:avLst/>
          </a:prstGeom>
        </p:spPr>
      </p:pic>
      <p:sp>
        <p:nvSpPr>
          <p:cNvPr id="7" name="Foliennummernplatzhalter 6">
            <a:extLst>
              <a:ext uri="{FF2B5EF4-FFF2-40B4-BE49-F238E27FC236}">
                <a16:creationId xmlns:a16="http://schemas.microsoft.com/office/drawing/2014/main" id="{AE694EAF-23C8-43F0-9B5F-1A880811399E}"/>
              </a:ext>
            </a:extLst>
          </p:cNvPr>
          <p:cNvSpPr>
            <a:spLocks noGrp="1"/>
          </p:cNvSpPr>
          <p:nvPr>
            <p:ph type="sldNum" sz="quarter" idx="11"/>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itel 12">
            <a:extLst>
              <a:ext uri="{FF2B5EF4-FFF2-40B4-BE49-F238E27FC236}">
                <a16:creationId xmlns:a16="http://schemas.microsoft.com/office/drawing/2014/main" id="{A54B1FFB-86F2-47DC-BB83-3E513C8791D4}"/>
              </a:ext>
            </a:extLst>
          </p:cNvPr>
          <p:cNvSpPr txBox="1">
            <a:spLocks/>
          </p:cNvSpPr>
          <p:nvPr userDrawn="1"/>
        </p:nvSpPr>
        <p:spPr bwMode="auto">
          <a:xfrm>
            <a:off x="7060548" y="2357768"/>
            <a:ext cx="2175893" cy="41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180000" tIns="0" rIns="0" bIns="0" numCol="1" anchor="t" anchorCtr="0" compatLnSpc="1">
            <a:prstTxWarp prst="textNoShape">
              <a:avLst/>
            </a:prstTxWarp>
            <a:sp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r>
              <a:rPr lang="de-DE" kern="0" dirty="0"/>
              <a:t>Vielen Dank!</a:t>
            </a:r>
            <a:endParaRPr lang="en-US" kern="0" dirty="0"/>
          </a:p>
        </p:txBody>
      </p:sp>
    </p:spTree>
    <p:extLst>
      <p:ext uri="{BB962C8B-B14F-4D97-AF65-F5344CB8AC3E}">
        <p14:creationId xmlns:p14="http://schemas.microsoft.com/office/powerpoint/2010/main" val="212542447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Schlussfolie_bl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252DA38F-1A8E-4D40-AECF-BCEAA3DEBF5A}"/>
              </a:ext>
            </a:extLst>
          </p:cNvPr>
          <p:cNvSpPr/>
          <p:nvPr userDrawn="1"/>
        </p:nvSpPr>
        <p:spPr bwMode="auto">
          <a:xfrm>
            <a:off x="197400" y="188913"/>
            <a:ext cx="11797200" cy="64801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bg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9094" y="6279356"/>
            <a:ext cx="1038599" cy="212725"/>
          </a:xfrm>
          <a:prstGeom prst="rect">
            <a:avLst/>
          </a:prstGeom>
        </p:spPr>
      </p:pic>
      <p:sp>
        <p:nvSpPr>
          <p:cNvPr id="7" name="Foliennummernplatzhalter 6">
            <a:extLst>
              <a:ext uri="{FF2B5EF4-FFF2-40B4-BE49-F238E27FC236}">
                <a16:creationId xmlns:a16="http://schemas.microsoft.com/office/drawing/2014/main" id="{AE694EAF-23C8-43F0-9B5F-1A880811399E}"/>
              </a:ext>
            </a:extLst>
          </p:cNvPr>
          <p:cNvSpPr>
            <a:spLocks noGrp="1"/>
          </p:cNvSpPr>
          <p:nvPr>
            <p:ph type="sldNum" sz="quarter" idx="11"/>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4" name="Titel 12">
            <a:extLst>
              <a:ext uri="{FF2B5EF4-FFF2-40B4-BE49-F238E27FC236}">
                <a16:creationId xmlns:a16="http://schemas.microsoft.com/office/drawing/2014/main" id="{A54B1FFB-86F2-47DC-BB83-3E513C8791D4}"/>
              </a:ext>
            </a:extLst>
          </p:cNvPr>
          <p:cNvSpPr txBox="1">
            <a:spLocks/>
          </p:cNvSpPr>
          <p:nvPr userDrawn="1"/>
        </p:nvSpPr>
        <p:spPr bwMode="auto">
          <a:xfrm>
            <a:off x="7060548" y="2357768"/>
            <a:ext cx="1847278" cy="8309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180000" tIns="0" rIns="0" bIns="0" numCol="1" anchor="t" anchorCtr="0" compatLnSpc="1">
            <a:prstTxWarp prst="textNoShape">
              <a:avLst/>
            </a:prstTxWarp>
            <a:sp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r>
              <a:rPr lang="de-DE" kern="0" dirty="0"/>
              <a:t>Die Kraft</a:t>
            </a:r>
            <a:br>
              <a:rPr lang="de-DE" kern="0" dirty="0"/>
            </a:br>
            <a:r>
              <a:rPr lang="de-DE" kern="0" dirty="0"/>
              <a:t>der Wende</a:t>
            </a:r>
            <a:endParaRPr lang="en-US" kern="0" dirty="0"/>
          </a:p>
        </p:txBody>
      </p:sp>
    </p:spTree>
    <p:extLst>
      <p:ext uri="{BB962C8B-B14F-4D97-AF65-F5344CB8AC3E}">
        <p14:creationId xmlns:p14="http://schemas.microsoft.com/office/powerpoint/2010/main" val="33674390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3">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674178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3150087"/>
          </a:xfrm>
          <a:solidFill>
            <a:schemeClr val="bg2"/>
          </a:solidFill>
        </p:spPr>
        <p:txBody>
          <a:bodyPr vert="horz"/>
          <a:lstStyle/>
          <a:p>
            <a:r>
              <a:rPr lang="de-DE"/>
              <a:t>Mastertitelformat bearbeiten</a:t>
            </a:r>
            <a:endParaRPr lang="en-US" dirty="0"/>
          </a:p>
        </p:txBody>
      </p:sp>
      <p:sp>
        <p:nvSpPr>
          <p:cNvPr id="11" name="Rechteck 10">
            <a:extLst>
              <a:ext uri="{FF2B5EF4-FFF2-40B4-BE49-F238E27FC236}">
                <a16:creationId xmlns:a16="http://schemas.microsoft.com/office/drawing/2014/main" id="{BDDDE4D4-136A-491F-B28E-A3131E62ABD2}"/>
              </a:ext>
            </a:extLst>
          </p:cNvPr>
          <p:cNvSpPr/>
          <p:nvPr userDrawn="1"/>
        </p:nvSpPr>
        <p:spPr bwMode="auto">
          <a:xfrm>
            <a:off x="196982"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4" name="Rechteck 13">
            <a:extLst>
              <a:ext uri="{FF2B5EF4-FFF2-40B4-BE49-F238E27FC236}">
                <a16:creationId xmlns:a16="http://schemas.microsoft.com/office/drawing/2014/main" id="{6FF1498E-33E8-4BF9-A806-8CB3E5809499}"/>
              </a:ext>
            </a:extLst>
          </p:cNvPr>
          <p:cNvSpPr/>
          <p:nvPr userDrawn="1"/>
        </p:nvSpPr>
        <p:spPr bwMode="auto">
          <a:xfrm>
            <a:off x="6186486"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6186486" y="188913"/>
            <a:ext cx="5808531" cy="315008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7" name="Textplatzhalter 15">
            <a:extLst>
              <a:ext uri="{FF2B5EF4-FFF2-40B4-BE49-F238E27FC236}">
                <a16:creationId xmlns:a16="http://schemas.microsoft.com/office/drawing/2014/main" id="{B530CDC8-04EE-4D24-BB0A-E5DE80A57178}"/>
              </a:ext>
            </a:extLst>
          </p:cNvPr>
          <p:cNvSpPr>
            <a:spLocks noGrp="1"/>
          </p:cNvSpPr>
          <p:nvPr>
            <p:ph type="body" sz="quarter" idx="17"/>
          </p:nvPr>
        </p:nvSpPr>
        <p:spPr>
          <a:xfrm>
            <a:off x="6189662" y="188913"/>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8" name="Textplatzhalter 15">
            <a:extLst>
              <a:ext uri="{FF2B5EF4-FFF2-40B4-BE49-F238E27FC236}">
                <a16:creationId xmlns:a16="http://schemas.microsoft.com/office/drawing/2014/main" id="{805D5EB7-0DFF-4FE1-9F41-710DF84C7B45}"/>
              </a:ext>
            </a:extLst>
          </p:cNvPr>
          <p:cNvSpPr>
            <a:spLocks noGrp="1"/>
          </p:cNvSpPr>
          <p:nvPr>
            <p:ph type="body" sz="quarter" idx="18"/>
          </p:nvPr>
        </p:nvSpPr>
        <p:spPr>
          <a:xfrm>
            <a:off x="196982" y="3519000"/>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Textplatzhalter 15">
            <a:extLst>
              <a:ext uri="{FF2B5EF4-FFF2-40B4-BE49-F238E27FC236}">
                <a16:creationId xmlns:a16="http://schemas.microsoft.com/office/drawing/2014/main" id="{6062F357-1E85-49D9-B9CC-D5A61AEA4D19}"/>
              </a:ext>
            </a:extLst>
          </p:cNvPr>
          <p:cNvSpPr>
            <a:spLocks noGrp="1"/>
          </p:cNvSpPr>
          <p:nvPr>
            <p:ph type="body" sz="quarter" idx="19"/>
          </p:nvPr>
        </p:nvSpPr>
        <p:spPr>
          <a:xfrm>
            <a:off x="6189662" y="3519000"/>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954563342"/>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chlussfolie_Foto">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0112F1E6-4019-46DF-8875-641EC151FE39}"/>
              </a:ext>
            </a:extLst>
          </p:cNvPr>
          <p:cNvSpPr>
            <a:spLocks noGrp="1" noChangeAspect="1"/>
          </p:cNvSpPr>
          <p:nvPr>
            <p:ph type="pic" sz="quarter" idx="14" hasCustomPrompt="1"/>
          </p:nvPr>
        </p:nvSpPr>
        <p:spPr>
          <a:xfrm>
            <a:off x="197400" y="188913"/>
            <a:ext cx="11797200" cy="6480175"/>
          </a:xfrm>
          <a:solidFill>
            <a:schemeClr val="accent3"/>
          </a:solidFill>
        </p:spPr>
        <p:txBody>
          <a:bodyPr>
            <a:noAutofit/>
          </a:bodyPr>
          <a:lstStyle>
            <a:lvl1pPr>
              <a:defRPr/>
            </a:lvl1pPr>
          </a:lstStyle>
          <a:p>
            <a:r>
              <a:rPr lang="en-US" dirty="0"/>
              <a:t> </a:t>
            </a:r>
          </a:p>
        </p:txBody>
      </p:sp>
      <p:sp>
        <p:nvSpPr>
          <p:cNvPr id="7" name="Bildplatzhalter 6">
            <a:extLst>
              <a:ext uri="{FF2B5EF4-FFF2-40B4-BE49-F238E27FC236}">
                <a16:creationId xmlns:a16="http://schemas.microsoft.com/office/drawing/2014/main" id="{F0DD0F9B-2A10-4506-92DB-AB3871E01634}"/>
              </a:ext>
            </a:extLst>
          </p:cNvPr>
          <p:cNvSpPr>
            <a:spLocks noGrp="1"/>
          </p:cNvSpPr>
          <p:nvPr>
            <p:ph type="pic" sz="quarter" idx="12" hasCustomPrompt="1"/>
          </p:nvPr>
        </p:nvSpPr>
        <p:spPr>
          <a:xfrm>
            <a:off x="5131453" y="2450298"/>
            <a:ext cx="1929095" cy="1957404"/>
          </a:xfrm>
          <a:blipFill>
            <a:blip r:embed="rId6"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7" name="Bildplatzhalter 6">
            <a:extLst>
              <a:ext uri="{FF2B5EF4-FFF2-40B4-BE49-F238E27FC236}">
                <a16:creationId xmlns:a16="http://schemas.microsoft.com/office/drawing/2014/main" id="{918F6376-DD3C-4B57-8110-882BAD8F9A87}"/>
              </a:ext>
            </a:extLst>
          </p:cNvPr>
          <p:cNvSpPr>
            <a:spLocks noGrp="1"/>
          </p:cNvSpPr>
          <p:nvPr>
            <p:ph type="pic" sz="quarter" idx="13" hasCustomPrompt="1"/>
          </p:nvPr>
        </p:nvSpPr>
        <p:spPr>
          <a:xfrm>
            <a:off x="369094" y="6279356"/>
            <a:ext cx="1038599" cy="212725"/>
          </a:xfrm>
          <a:blipFill>
            <a:blip r:embed="rId7" cstate="screen">
              <a:extLst>
                <a:ext uri="{28A0092B-C50C-407E-A947-70E740481C1C}">
                  <a14:useLocalDpi xmlns:a14="http://schemas.microsoft.com/office/drawing/2010/main"/>
                </a:ext>
              </a:extLst>
            </a:blip>
            <a:stretch>
              <a:fillRect/>
            </a:stretch>
          </a:blipFill>
        </p:spPr>
        <p:txBody>
          <a:bodyPr>
            <a:noAutofit/>
          </a:bodyPr>
          <a:lstStyle>
            <a:lvl1pPr>
              <a:defRPr/>
            </a:lvl1pPr>
          </a:lstStyle>
          <a:p>
            <a:r>
              <a:rPr lang="en-US" dirty="0"/>
              <a:t> </a:t>
            </a:r>
          </a:p>
        </p:txBody>
      </p:sp>
      <p:sp>
        <p:nvSpPr>
          <p:cNvPr id="9" name="Foliennummernplatzhalter 8">
            <a:extLst>
              <a:ext uri="{FF2B5EF4-FFF2-40B4-BE49-F238E27FC236}">
                <a16:creationId xmlns:a16="http://schemas.microsoft.com/office/drawing/2014/main" id="{03E20AFD-9BCF-49CC-A074-9B0D704D7DB1}"/>
              </a:ext>
            </a:extLst>
          </p:cNvPr>
          <p:cNvSpPr>
            <a:spLocks noGrp="1"/>
          </p:cNvSpPr>
          <p:nvPr>
            <p:ph type="sldNum" sz="quarter" idx="15"/>
          </p:nvPr>
        </p:nvSpPr>
        <p:spPr/>
        <p:txBody>
          <a:bodyPr/>
          <a:lstStyle>
            <a:lvl1pPr>
              <a:defRPr>
                <a:solidFill>
                  <a:schemeClr val="bg1"/>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6" name="Titel 5">
            <a:extLst>
              <a:ext uri="{FF2B5EF4-FFF2-40B4-BE49-F238E27FC236}">
                <a16:creationId xmlns:a16="http://schemas.microsoft.com/office/drawing/2014/main" id="{B7BB6D09-D7FE-4929-8143-9A157CE7A306}"/>
              </a:ext>
            </a:extLst>
          </p:cNvPr>
          <p:cNvSpPr>
            <a:spLocks noGrp="1"/>
          </p:cNvSpPr>
          <p:nvPr>
            <p:ph type="title" hasCustomPrompt="1"/>
          </p:nvPr>
        </p:nvSpPr>
        <p:spPr>
          <a:xfrm>
            <a:off x="196982" y="188913"/>
            <a:ext cx="5808531" cy="706311"/>
          </a:xfrm>
        </p:spPr>
        <p:txBody>
          <a:bodyPr vert="horz">
            <a:spAutoFit/>
          </a:bodyPr>
          <a:lstStyle>
            <a:lvl1pPr>
              <a:defRPr>
                <a:solidFill>
                  <a:schemeClr val="bg1"/>
                </a:solidFill>
              </a:defRPr>
            </a:lvl1pPr>
          </a:lstStyle>
          <a:p>
            <a:r>
              <a:rPr lang="de-DE" dirty="0"/>
              <a:t>Vielen Dank!</a:t>
            </a:r>
            <a:endParaRPr lang="en-US" dirty="0"/>
          </a:p>
        </p:txBody>
      </p:sp>
    </p:spTree>
    <p:extLst>
      <p:ext uri="{BB962C8B-B14F-4D97-AF65-F5344CB8AC3E}">
        <p14:creationId xmlns:p14="http://schemas.microsoft.com/office/powerpoint/2010/main" val="20025189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1" name="Bildplatzhalter 6">
            <a:extLst>
              <a:ext uri="{FF2B5EF4-FFF2-40B4-BE49-F238E27FC236}">
                <a16:creationId xmlns:a16="http://schemas.microsoft.com/office/drawing/2014/main" id="{23B969D2-2874-427C-BBE5-B2F332105877}"/>
              </a:ext>
            </a:extLst>
          </p:cNvPr>
          <p:cNvSpPr>
            <a:spLocks noGrp="1" noChangeAspect="1"/>
          </p:cNvSpPr>
          <p:nvPr>
            <p:ph type="pic" sz="quarter" idx="17" hasCustomPrompt="1"/>
          </p:nvPr>
        </p:nvSpPr>
        <p:spPr>
          <a:xfrm>
            <a:off x="6202674" y="188913"/>
            <a:ext cx="5791926" cy="6480175"/>
          </a:xfrm>
          <a:solidFill>
            <a:schemeClr val="accent3"/>
          </a:solidFill>
        </p:spPr>
        <p:txBody>
          <a:bodyPr>
            <a:noAutofit/>
          </a:bodyPr>
          <a:lstStyle>
            <a:lvl1pPr>
              <a:defRPr/>
            </a:lvl1pPr>
          </a:lstStyle>
          <a:p>
            <a:r>
              <a:rPr lang="en-US" dirty="0"/>
              <a:t> </a:t>
            </a:r>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p>
            <a:r>
              <a:rPr lang="de-DE" dirty="0"/>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1011238"/>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Foliennummernplatzhalter 2">
            <a:extLst>
              <a:ext uri="{FF2B5EF4-FFF2-40B4-BE49-F238E27FC236}">
                <a16:creationId xmlns:a16="http://schemas.microsoft.com/office/drawing/2014/main" id="{7E83D4F0-4887-1417-D749-3A9B3E3F1133}"/>
              </a:ext>
            </a:extLst>
          </p:cNvPr>
          <p:cNvSpPr>
            <a:spLocks noGrp="1"/>
          </p:cNvSpPr>
          <p:nvPr>
            <p:ph type="sldNum" sz="quarter" idx="19"/>
          </p:nvPr>
        </p:nvSpPr>
        <p:spPr/>
        <p:txBody>
          <a:bodyPr/>
          <a:lstStyle>
            <a:lvl1pPr>
              <a:defRPr>
                <a:solidFill>
                  <a:schemeClr val="bg1"/>
                </a:solidFill>
              </a:defRPr>
            </a:lvl1pPr>
          </a:lstStyle>
          <a:p>
            <a:pPr algn="r" eaLnBrk="0" fontAlgn="base" hangingPunct="0">
              <a:spcBef>
                <a:spcPct val="0"/>
              </a:spcBef>
              <a:spcAft>
                <a:spcPct val="0"/>
              </a:spcAft>
            </a:pPr>
            <a:r>
              <a:rPr lang="de-AT" dirty="0"/>
              <a:t>VERBUND – Corporate Report 2022 – Pag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3092411068"/>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Inhalt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8CFC9D91-A29A-4DC4-9897-FD62BD7D9239}"/>
              </a:ext>
            </a:extLst>
          </p:cNvPr>
          <p:cNvSpPr>
            <a:spLocks noGrp="1"/>
          </p:cNvSpPr>
          <p:nvPr>
            <p:ph type="pic" sz="quarter" idx="17" hasCustomPrompt="1"/>
          </p:nvPr>
        </p:nvSpPr>
        <p:spPr>
          <a:xfrm>
            <a:off x="6202674" y="188913"/>
            <a:ext cx="5791926" cy="6480174"/>
          </a:xfrm>
          <a:solidFill>
            <a:schemeClr val="accent3"/>
          </a:solidFill>
        </p:spPr>
        <p:txBody>
          <a:bodyPr>
            <a:noAutofit/>
          </a:bodyPr>
          <a:lstStyle>
            <a:lvl1pPr>
              <a:defRPr/>
            </a:lvl1pPr>
          </a:lstStyle>
          <a:p>
            <a:r>
              <a:rPr lang="en-US" dirty="0"/>
              <a:t> </a:t>
            </a:r>
          </a:p>
        </p:txBody>
      </p:sp>
      <p:sp>
        <p:nvSpPr>
          <p:cNvPr id="15" name="Titel 1">
            <a:extLst>
              <a:ext uri="{FF2B5EF4-FFF2-40B4-BE49-F238E27FC236}">
                <a16:creationId xmlns:a16="http://schemas.microsoft.com/office/drawing/2014/main" id="{7FD05370-A0B2-4F44-A11A-18774D13DD6D}"/>
              </a:ext>
            </a:extLst>
          </p:cNvPr>
          <p:cNvSpPr txBox="1">
            <a:spLocks/>
          </p:cNvSpPr>
          <p:nvPr userDrawn="1"/>
        </p:nvSpPr>
        <p:spPr bwMode="auto">
          <a:xfrm>
            <a:off x="196982" y="188912"/>
            <a:ext cx="5817113" cy="2040059"/>
          </a:xfrm>
          <a:prstGeom prst="rect">
            <a:avLst/>
          </a:prstGeom>
          <a:gradFill flip="none" rotWithShape="1">
            <a:gsLst>
              <a:gs pos="0">
                <a:schemeClr val="tx2"/>
              </a:gs>
              <a:gs pos="100000">
                <a:schemeClr val="accent6"/>
              </a:gs>
            </a:gsLst>
            <a:lin ang="10800000" scaled="1"/>
            <a:tileRect/>
          </a:gradFill>
          <a:ln>
            <a:noFill/>
          </a:ln>
        </p:spPr>
        <p:txBody>
          <a:bodyPr vert="horz" wrap="square" lIns="180000" tIns="108000" rIns="180000" bIns="180000" numCol="1" anchor="t" anchorCtr="0" compatLnSpc="1">
            <a:prstTxWarp prst="textNoShape">
              <a:avLst/>
            </a:prstTxWarp>
            <a:no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endParaRPr lang="en-US" kern="0" dirty="0"/>
          </a:p>
        </p:txBody>
      </p:sp>
      <p:sp>
        <p:nvSpPr>
          <p:cNvPr id="12" name="Rechteck 11">
            <a:extLst>
              <a:ext uri="{FF2B5EF4-FFF2-40B4-BE49-F238E27FC236}">
                <a16:creationId xmlns:a16="http://schemas.microsoft.com/office/drawing/2014/main" id="{08EDDFCF-D9DE-4676-A7A1-B9FDC0C661DE}"/>
              </a:ext>
            </a:extLst>
          </p:cNvPr>
          <p:cNvSpPr/>
          <p:nvPr userDrawn="1"/>
        </p:nvSpPr>
        <p:spPr bwMode="auto">
          <a:xfrm>
            <a:off x="196982" y="2408971"/>
            <a:ext cx="5808531" cy="4260116"/>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3"/>
            <a:ext cx="5808531" cy="706311"/>
          </a:xfrm>
        </p:spPr>
        <p:txBody>
          <a:bodyPr vert="horz">
            <a:spAutoFit/>
          </a:bodyPr>
          <a:lstStyle>
            <a:lvl1pPr>
              <a:defRPr>
                <a:solidFill>
                  <a:schemeClr val="bg1"/>
                </a:solidFill>
              </a:defRPr>
            </a:lvl1pPr>
          </a:lstStyle>
          <a:p>
            <a:r>
              <a:rPr lang="de-DE" dirty="0"/>
              <a:t>Mastertitelformat bearbeiten</a:t>
            </a:r>
            <a:endParaRPr lang="en-US"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14" name="Textplatzhalter 15">
            <a:extLst>
              <a:ext uri="{FF2B5EF4-FFF2-40B4-BE49-F238E27FC236}">
                <a16:creationId xmlns:a16="http://schemas.microsoft.com/office/drawing/2014/main" id="{CDFA6CF8-F37F-4164-9ED9-5A619EAAE3A2}"/>
              </a:ext>
            </a:extLst>
          </p:cNvPr>
          <p:cNvSpPr>
            <a:spLocks noGrp="1"/>
          </p:cNvSpPr>
          <p:nvPr>
            <p:ph type="body" sz="quarter" idx="18"/>
          </p:nvPr>
        </p:nvSpPr>
        <p:spPr>
          <a:xfrm>
            <a:off x="196982" y="2408971"/>
            <a:ext cx="5808531" cy="1693983"/>
          </a:xfrm>
        </p:spPr>
        <p:txBody>
          <a:bodyPr>
            <a:sp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Textplatzhalter 15">
            <a:extLst>
              <a:ext uri="{FF2B5EF4-FFF2-40B4-BE49-F238E27FC236}">
                <a16:creationId xmlns:a16="http://schemas.microsoft.com/office/drawing/2014/main" id="{1612E271-F993-466D-B6CB-DBB0E0F13432}"/>
              </a:ext>
            </a:extLst>
          </p:cNvPr>
          <p:cNvSpPr>
            <a:spLocks noGrp="1"/>
          </p:cNvSpPr>
          <p:nvPr>
            <p:ph type="body" sz="quarter" idx="23"/>
          </p:nvPr>
        </p:nvSpPr>
        <p:spPr>
          <a:xfrm>
            <a:off x="196982" y="908803"/>
            <a:ext cx="5817113" cy="1320168"/>
          </a:xfrm>
        </p:spPr>
        <p:txBody>
          <a:bodyPr lIns="180000" tIns="136800" rIns="180000" bIns="180000" anchor="b"/>
          <a:lstStyle>
            <a:lvl1pPr>
              <a:defRPr sz="1300">
                <a:solidFill>
                  <a:schemeClr val="bg1"/>
                </a:solidFill>
              </a:defRPr>
            </a:lvl1pPr>
            <a:lvl2pPr>
              <a:defRPr sz="1300">
                <a:solidFill>
                  <a:schemeClr val="bg1"/>
                </a:solidFill>
              </a:defRPr>
            </a:lvl2pPr>
            <a:lvl3pPr>
              <a:defRPr sz="1300">
                <a:solidFill>
                  <a:schemeClr val="bg1"/>
                </a:solidFill>
              </a:defRPr>
            </a:lvl3pPr>
            <a:lvl4pPr>
              <a:defRPr sz="1300">
                <a:solidFill>
                  <a:schemeClr val="bg1"/>
                </a:solidFill>
              </a:defRPr>
            </a:lvl4pPr>
            <a:lvl5pPr>
              <a:defRPr sz="1300">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3" name="Foliennummernplatzhalter 2">
            <a:extLst>
              <a:ext uri="{FF2B5EF4-FFF2-40B4-BE49-F238E27FC236}">
                <a16:creationId xmlns:a16="http://schemas.microsoft.com/office/drawing/2014/main" id="{300BF627-78AE-2116-3F5F-3D4627661D43}"/>
              </a:ext>
            </a:extLst>
          </p:cNvPr>
          <p:cNvSpPr>
            <a:spLocks noGrp="1"/>
          </p:cNvSpPr>
          <p:nvPr>
            <p:ph type="sldNum" sz="quarter" idx="24"/>
          </p:nvPr>
        </p:nvSpPr>
        <p:spPr/>
        <p:txBody>
          <a:bodyPr/>
          <a:lstStyle>
            <a:lvl1pPr>
              <a:defRPr>
                <a:solidFill>
                  <a:schemeClr val="bg1"/>
                </a:solidFill>
              </a:defRPr>
            </a:lvl1pPr>
          </a:lstStyle>
          <a:p>
            <a:pPr algn="r" eaLnBrk="0" fontAlgn="base" hangingPunct="0">
              <a:spcBef>
                <a:spcPct val="0"/>
              </a:spcBef>
              <a:spcAft>
                <a:spcPct val="0"/>
              </a:spcAft>
            </a:pPr>
            <a:r>
              <a:rPr lang="de-AT" dirty="0"/>
              <a:t>VERBUND – Corporate Report 2022 – Pag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2084116365"/>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guide id="3" orient="horz" pos="98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chlussfolie_bl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252DA38F-1A8E-4D40-AECF-BCEAA3DEBF5A}"/>
              </a:ext>
            </a:extLst>
          </p:cNvPr>
          <p:cNvSpPr/>
          <p:nvPr userDrawn="1"/>
        </p:nvSpPr>
        <p:spPr bwMode="auto">
          <a:xfrm>
            <a:off x="197400" y="188913"/>
            <a:ext cx="11797200" cy="64801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bg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094" y="6279356"/>
            <a:ext cx="1038599" cy="212725"/>
          </a:xfrm>
          <a:prstGeom prst="rect">
            <a:avLst/>
          </a:prstGeom>
        </p:spPr>
      </p:pic>
      <p:sp>
        <p:nvSpPr>
          <p:cNvPr id="14" name="Titel 12">
            <a:extLst>
              <a:ext uri="{FF2B5EF4-FFF2-40B4-BE49-F238E27FC236}">
                <a16:creationId xmlns:a16="http://schemas.microsoft.com/office/drawing/2014/main" id="{A54B1FFB-86F2-47DC-BB83-3E513C8791D4}"/>
              </a:ext>
            </a:extLst>
          </p:cNvPr>
          <p:cNvSpPr txBox="1">
            <a:spLocks/>
          </p:cNvSpPr>
          <p:nvPr userDrawn="1"/>
        </p:nvSpPr>
        <p:spPr bwMode="auto">
          <a:xfrm>
            <a:off x="7060548" y="2357768"/>
            <a:ext cx="1961091" cy="415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180000" tIns="0" rIns="0" bIns="0" numCol="1" anchor="t" anchorCtr="0" compatLnSpc="1">
            <a:prstTxWarp prst="textNoShape">
              <a:avLst/>
            </a:prstTxWarp>
            <a:sp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r>
              <a:rPr lang="de-DE" kern="0" dirty="0" err="1"/>
              <a:t>Thank</a:t>
            </a:r>
            <a:r>
              <a:rPr lang="de-DE" kern="0" dirty="0"/>
              <a:t> </a:t>
            </a:r>
            <a:r>
              <a:rPr lang="de-DE" kern="0" dirty="0" err="1"/>
              <a:t>You</a:t>
            </a:r>
            <a:r>
              <a:rPr lang="de-DE" kern="0" dirty="0"/>
              <a:t>!</a:t>
            </a:r>
            <a:endParaRPr lang="en-US" kern="0" dirty="0"/>
          </a:p>
        </p:txBody>
      </p:sp>
    </p:spTree>
    <p:extLst>
      <p:ext uri="{BB962C8B-B14F-4D97-AF65-F5344CB8AC3E}">
        <p14:creationId xmlns:p14="http://schemas.microsoft.com/office/powerpoint/2010/main" val="15593222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Schlussfolie_blau">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252DA38F-1A8E-4D40-AECF-BCEAA3DEBF5A}"/>
              </a:ext>
            </a:extLst>
          </p:cNvPr>
          <p:cNvSpPr/>
          <p:nvPr userDrawn="1"/>
        </p:nvSpPr>
        <p:spPr bwMode="auto">
          <a:xfrm>
            <a:off x="197400" y="188913"/>
            <a:ext cx="11797200" cy="6480175"/>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bg1"/>
              </a:solidFill>
              <a:effectLst/>
              <a:latin typeface="Arial" charset="0"/>
              <a:ea typeface="MS PGothic" pitchFamily="34" charset="-128"/>
            </a:endParaRP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2" name="Grafik 46">
            <a:extLst>
              <a:ext uri="{FF2B5EF4-FFF2-40B4-BE49-F238E27FC236}">
                <a16:creationId xmlns:a16="http://schemas.microsoft.com/office/drawing/2014/main" id="{D03A7A3C-5598-4595-BC1C-E2B4FF7951A7}"/>
              </a:ext>
            </a:extLst>
          </p:cNvPr>
          <p:cNvSpPr>
            <a:spLocks noChangeAspect="1"/>
          </p:cNvSpPr>
          <p:nvPr userDrawn="1"/>
        </p:nvSpPr>
        <p:spPr>
          <a:xfrm>
            <a:off x="5131453" y="2450298"/>
            <a:ext cx="1929095" cy="1957404"/>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bg1"/>
          </a:solidFill>
          <a:ln w="9525" cap="flat">
            <a:noFill/>
            <a:prstDash val="solid"/>
            <a:miter/>
          </a:ln>
        </p:spPr>
        <p:txBody>
          <a:bodyPr rtlCol="0" anchor="ctr"/>
          <a:lstStyle/>
          <a:p>
            <a:endParaRPr lang="en-US"/>
          </a:p>
        </p:txBody>
      </p:sp>
      <p:pic>
        <p:nvPicPr>
          <p:cNvPr id="11" name="Grafik 10">
            <a:extLst>
              <a:ext uri="{FF2B5EF4-FFF2-40B4-BE49-F238E27FC236}">
                <a16:creationId xmlns:a16="http://schemas.microsoft.com/office/drawing/2014/main" id="{853AAB4E-7316-4F2B-B201-F6B872EDAFD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094" y="6279356"/>
            <a:ext cx="1038599" cy="212725"/>
          </a:xfrm>
          <a:prstGeom prst="rect">
            <a:avLst/>
          </a:prstGeom>
        </p:spPr>
      </p:pic>
      <p:sp>
        <p:nvSpPr>
          <p:cNvPr id="14" name="Titel 12">
            <a:extLst>
              <a:ext uri="{FF2B5EF4-FFF2-40B4-BE49-F238E27FC236}">
                <a16:creationId xmlns:a16="http://schemas.microsoft.com/office/drawing/2014/main" id="{A54B1FFB-86F2-47DC-BB83-3E513C8791D4}"/>
              </a:ext>
            </a:extLst>
          </p:cNvPr>
          <p:cNvSpPr txBox="1">
            <a:spLocks/>
          </p:cNvSpPr>
          <p:nvPr userDrawn="1"/>
        </p:nvSpPr>
        <p:spPr bwMode="auto">
          <a:xfrm>
            <a:off x="7060548" y="2357768"/>
            <a:ext cx="2066889" cy="8309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180000" tIns="0" rIns="0" bIns="0" numCol="1" anchor="t" anchorCtr="0" compatLnSpc="1">
            <a:prstTxWarp prst="textNoShape">
              <a:avLst/>
            </a:prstTxWarp>
            <a:spAutoFit/>
          </a:bodyPr>
          <a:lstStyle>
            <a:lvl1pPr algn="l" rtl="0" eaLnBrk="1" fontAlgn="base" hangingPunct="1">
              <a:lnSpc>
                <a:spcPct val="100000"/>
              </a:lnSpc>
              <a:spcBef>
                <a:spcPct val="0"/>
              </a:spcBef>
              <a:spcAft>
                <a:spcPct val="0"/>
              </a:spcAft>
              <a:defRPr sz="2700">
                <a:solidFill>
                  <a:schemeClr val="bg1"/>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a:lstStyle>
          <a:p>
            <a:r>
              <a:rPr lang="de-DE" kern="0" dirty="0"/>
              <a:t>The Power</a:t>
            </a:r>
            <a:br>
              <a:rPr lang="de-DE" kern="0" dirty="0"/>
            </a:br>
            <a:r>
              <a:rPr lang="de-DE" kern="0" dirty="0"/>
              <a:t>of </a:t>
            </a:r>
            <a:r>
              <a:rPr lang="en-US" kern="0" dirty="0"/>
              <a:t>transition</a:t>
            </a:r>
          </a:p>
        </p:txBody>
      </p:sp>
    </p:spTree>
    <p:extLst>
      <p:ext uri="{BB962C8B-B14F-4D97-AF65-F5344CB8AC3E}">
        <p14:creationId xmlns:p14="http://schemas.microsoft.com/office/powerpoint/2010/main" val="10251933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chlussfolie_Foto">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0112F1E6-4019-46DF-8875-641EC151FE39}"/>
              </a:ext>
            </a:extLst>
          </p:cNvPr>
          <p:cNvSpPr>
            <a:spLocks noGrp="1" noChangeAspect="1"/>
          </p:cNvSpPr>
          <p:nvPr>
            <p:ph type="pic" sz="quarter" idx="14" hasCustomPrompt="1"/>
          </p:nvPr>
        </p:nvSpPr>
        <p:spPr>
          <a:xfrm>
            <a:off x="197400" y="188913"/>
            <a:ext cx="11797200" cy="6480175"/>
          </a:xfrm>
          <a:solidFill>
            <a:schemeClr val="accent3"/>
          </a:solidFill>
        </p:spPr>
        <p:txBody>
          <a:bodyPr>
            <a:noAutofit/>
          </a:bodyPr>
          <a:lstStyle>
            <a:lvl1pPr>
              <a:defRPr/>
            </a:lvl1pPr>
          </a:lstStyle>
          <a:p>
            <a:r>
              <a:rPr lang="en-US" dirty="0"/>
              <a:t> </a:t>
            </a:r>
          </a:p>
        </p:txBody>
      </p:sp>
      <p:sp>
        <p:nvSpPr>
          <p:cNvPr id="7" name="Bildplatzhalter 6">
            <a:extLst>
              <a:ext uri="{FF2B5EF4-FFF2-40B4-BE49-F238E27FC236}">
                <a16:creationId xmlns:a16="http://schemas.microsoft.com/office/drawing/2014/main" id="{F0DD0F9B-2A10-4506-92DB-AB3871E01634}"/>
              </a:ext>
            </a:extLst>
          </p:cNvPr>
          <p:cNvSpPr>
            <a:spLocks noGrp="1"/>
          </p:cNvSpPr>
          <p:nvPr>
            <p:ph type="pic" sz="quarter" idx="12" hasCustomPrompt="1"/>
          </p:nvPr>
        </p:nvSpPr>
        <p:spPr>
          <a:xfrm>
            <a:off x="5131453" y="2450298"/>
            <a:ext cx="1929095" cy="1957404"/>
          </a:xfrm>
          <a: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noAutofit/>
          </a:bodyPr>
          <a:lstStyle>
            <a:lvl1pPr>
              <a:defRPr/>
            </a:lvl1pPr>
          </a:lstStyle>
          <a:p>
            <a:r>
              <a:rPr lang="en-US" dirty="0"/>
              <a:t> </a:t>
            </a: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17" name="Bildplatzhalter 6">
            <a:extLst>
              <a:ext uri="{FF2B5EF4-FFF2-40B4-BE49-F238E27FC236}">
                <a16:creationId xmlns:a16="http://schemas.microsoft.com/office/drawing/2014/main" id="{918F6376-DD3C-4B57-8110-882BAD8F9A87}"/>
              </a:ext>
            </a:extLst>
          </p:cNvPr>
          <p:cNvSpPr>
            <a:spLocks noGrp="1"/>
          </p:cNvSpPr>
          <p:nvPr>
            <p:ph type="pic" sz="quarter" idx="13" hasCustomPrompt="1"/>
          </p:nvPr>
        </p:nvSpPr>
        <p:spPr>
          <a:xfrm>
            <a:off x="369094" y="6279356"/>
            <a:ext cx="1038599" cy="212725"/>
          </a:xfrm>
          <a: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noAutofit/>
          </a:bodyPr>
          <a:lstStyle>
            <a:lvl1pPr>
              <a:defRPr/>
            </a:lvl1pPr>
          </a:lstStyle>
          <a:p>
            <a:r>
              <a:rPr lang="en-US" dirty="0"/>
              <a:t> </a:t>
            </a:r>
          </a:p>
        </p:txBody>
      </p:sp>
      <p:sp>
        <p:nvSpPr>
          <p:cNvPr id="6" name="Titel 5">
            <a:extLst>
              <a:ext uri="{FF2B5EF4-FFF2-40B4-BE49-F238E27FC236}">
                <a16:creationId xmlns:a16="http://schemas.microsoft.com/office/drawing/2014/main" id="{B7BB6D09-D7FE-4929-8143-9A157CE7A306}"/>
              </a:ext>
            </a:extLst>
          </p:cNvPr>
          <p:cNvSpPr>
            <a:spLocks noGrp="1"/>
          </p:cNvSpPr>
          <p:nvPr>
            <p:ph type="title" hasCustomPrompt="1"/>
          </p:nvPr>
        </p:nvSpPr>
        <p:spPr>
          <a:xfrm>
            <a:off x="196982" y="188913"/>
            <a:ext cx="5808531" cy="706311"/>
          </a:xfrm>
        </p:spPr>
        <p:txBody>
          <a:bodyPr vert="horz">
            <a:spAutoFit/>
          </a:bodyPr>
          <a:lstStyle>
            <a:lvl1pPr>
              <a:defRPr>
                <a:solidFill>
                  <a:schemeClr val="bg1"/>
                </a:solidFill>
              </a:defRPr>
            </a:lvl1pPr>
          </a:lstStyle>
          <a:p>
            <a:r>
              <a:rPr lang="de-DE" dirty="0"/>
              <a:t>Vielen Dank!</a:t>
            </a:r>
            <a:endParaRPr lang="en-US" dirty="0"/>
          </a:p>
        </p:txBody>
      </p:sp>
    </p:spTree>
    <p:extLst>
      <p:ext uri="{BB962C8B-B14F-4D97-AF65-F5344CB8AC3E}">
        <p14:creationId xmlns:p14="http://schemas.microsoft.com/office/powerpoint/2010/main" val="39995461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elfolie_Foto">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30569724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18" name="Bildplatzhalter 6">
            <a:extLst>
              <a:ext uri="{FF2B5EF4-FFF2-40B4-BE49-F238E27FC236}">
                <a16:creationId xmlns:a16="http://schemas.microsoft.com/office/drawing/2014/main" id="{0112F1E6-4019-46DF-8875-641EC151FE39}"/>
              </a:ext>
            </a:extLst>
          </p:cNvPr>
          <p:cNvSpPr>
            <a:spLocks noGrp="1" noChangeAspect="1"/>
          </p:cNvSpPr>
          <p:nvPr>
            <p:ph type="pic" sz="quarter" idx="14" hasCustomPrompt="1"/>
          </p:nvPr>
        </p:nvSpPr>
        <p:spPr>
          <a:xfrm>
            <a:off x="197400" y="188913"/>
            <a:ext cx="11797200" cy="6480175"/>
          </a:xfrm>
          <a:solidFill>
            <a:schemeClr val="accent3"/>
          </a:solidFill>
        </p:spPr>
        <p:txBody>
          <a:bodyPr>
            <a:noAutofit/>
          </a:bodyPr>
          <a:lstStyle>
            <a:lvl1pPr>
              <a:defRPr/>
            </a:lvl1pPr>
          </a:lstStyle>
          <a:p>
            <a:r>
              <a:rPr lang="en-US" dirty="0"/>
              <a:t> </a:t>
            </a:r>
          </a:p>
        </p:txBody>
      </p:sp>
      <p:sp>
        <p:nvSpPr>
          <p:cNvPr id="7" name="Bildplatzhalter 6">
            <a:extLst>
              <a:ext uri="{FF2B5EF4-FFF2-40B4-BE49-F238E27FC236}">
                <a16:creationId xmlns:a16="http://schemas.microsoft.com/office/drawing/2014/main" id="{F0DD0F9B-2A10-4506-92DB-AB3871E01634}"/>
              </a:ext>
            </a:extLst>
          </p:cNvPr>
          <p:cNvSpPr>
            <a:spLocks noGrp="1"/>
          </p:cNvSpPr>
          <p:nvPr>
            <p:ph type="pic" sz="quarter" idx="12" hasCustomPrompt="1"/>
          </p:nvPr>
        </p:nvSpPr>
        <p:spPr>
          <a:xfrm>
            <a:off x="5131452" y="2450298"/>
            <a:ext cx="1929095" cy="1957404"/>
          </a:xfr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noAutofit/>
          </a:bodyPr>
          <a:lstStyle>
            <a:lvl1pPr>
              <a:defRPr/>
            </a:lvl1pPr>
          </a:lstStyle>
          <a:p>
            <a:r>
              <a:rPr lang="en-US" dirty="0"/>
              <a:t> </a:t>
            </a:r>
          </a:p>
        </p:txBody>
      </p:sp>
      <p:sp>
        <p:nvSpPr>
          <p:cNvPr id="8" name="Rechteck 7" hidden="1"/>
          <p:cNvSpPr/>
          <p:nvPr userDrawn="1">
            <p:custDataLst>
              <p:tags r:id="rId2"/>
            </p:custDataLst>
          </p:nvPr>
        </p:nvSpPr>
        <p:spPr bwMode="auto">
          <a:xfrm>
            <a:off x="0" y="0"/>
            <a:ext cx="211667" cy="211667"/>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1219170" rtl="0" eaLnBrk="0" fontAlgn="base" latinLnBrk="0" hangingPunct="0">
              <a:lnSpc>
                <a:spcPts val="3467"/>
              </a:lnSpc>
              <a:spcBef>
                <a:spcPct val="0"/>
              </a:spcBef>
              <a:spcAft>
                <a:spcPct val="0"/>
              </a:spcAft>
              <a:buClrTx/>
              <a:buSzTx/>
              <a:buFontTx/>
              <a:buNone/>
              <a:tabLst/>
            </a:pPr>
            <a:endParaRPr kumimoji="0" lang="de-AT" sz="3333" b="0" i="0" u="none" strike="noStrike" cap="none" normalizeH="0" baseline="0" dirty="0" err="1">
              <a:ln>
                <a:noFill/>
              </a:ln>
              <a:solidFill>
                <a:schemeClr val="tx1"/>
              </a:solidFill>
              <a:effectLst/>
              <a:latin typeface="Georgia"/>
              <a:ea typeface="MS PGothic"/>
              <a:cs typeface="+mj-cs"/>
              <a:sym typeface="Georgia"/>
            </a:endParaRPr>
          </a:p>
        </p:txBody>
      </p:sp>
      <p:sp>
        <p:nvSpPr>
          <p:cNvPr id="4" name="Textplatzhalter 3"/>
          <p:cNvSpPr>
            <a:spLocks noGrp="1"/>
          </p:cNvSpPr>
          <p:nvPr>
            <p:ph type="body" sz="quarter" idx="10" hasCustomPrompt="1"/>
          </p:nvPr>
        </p:nvSpPr>
        <p:spPr>
          <a:xfrm>
            <a:off x="374650" y="2409247"/>
            <a:ext cx="4576803" cy="600164"/>
          </a:xfrm>
        </p:spPr>
        <p:txBody>
          <a:bodyPr lIns="0" tIns="0" rIns="0" bIns="0"/>
          <a:lstStyle>
            <a:lvl1pPr algn="r">
              <a:defRPr sz="1300">
                <a:solidFill>
                  <a:schemeClr val="bg1"/>
                </a:solidFill>
              </a:defRPr>
            </a:lvl1pPr>
          </a:lstStyle>
          <a:p>
            <a:pPr lvl="0"/>
            <a:r>
              <a:rPr lang="de-DE" dirty="0"/>
              <a:t>Verfasser</a:t>
            </a:r>
            <a:br>
              <a:rPr lang="de-DE" dirty="0"/>
            </a:br>
            <a:r>
              <a:rPr lang="de-DE" dirty="0"/>
              <a:t>Ort</a:t>
            </a:r>
            <a:br>
              <a:rPr lang="de-DE" dirty="0"/>
            </a:br>
            <a:r>
              <a:rPr lang="de-DE" dirty="0"/>
              <a:t>TT. Monat JJJJ</a:t>
            </a:r>
            <a:endParaRPr lang="de-AT" dirty="0"/>
          </a:p>
        </p:txBody>
      </p:sp>
      <p:sp>
        <p:nvSpPr>
          <p:cNvPr id="17" name="Bildplatzhalter 6">
            <a:extLst>
              <a:ext uri="{FF2B5EF4-FFF2-40B4-BE49-F238E27FC236}">
                <a16:creationId xmlns:a16="http://schemas.microsoft.com/office/drawing/2014/main" id="{918F6376-DD3C-4B57-8110-882BAD8F9A87}"/>
              </a:ext>
            </a:extLst>
          </p:cNvPr>
          <p:cNvSpPr>
            <a:spLocks noGrp="1"/>
          </p:cNvSpPr>
          <p:nvPr>
            <p:ph type="pic" sz="quarter" idx="13" hasCustomPrompt="1"/>
          </p:nvPr>
        </p:nvSpPr>
        <p:spPr>
          <a:xfrm>
            <a:off x="378000" y="6282000"/>
            <a:ext cx="1038599" cy="212725"/>
          </a:xfrm>
          <a: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noAutofit/>
          </a:bodyPr>
          <a:lstStyle>
            <a:lvl1pPr>
              <a:defRPr/>
            </a:lvl1pPr>
          </a:lstStyle>
          <a:p>
            <a:r>
              <a:rPr lang="en-US" dirty="0"/>
              <a:t> </a:t>
            </a:r>
          </a:p>
        </p:txBody>
      </p:sp>
      <p:sp>
        <p:nvSpPr>
          <p:cNvPr id="9" name="Fußzeilenplatzhalter 8">
            <a:extLst>
              <a:ext uri="{FF2B5EF4-FFF2-40B4-BE49-F238E27FC236}">
                <a16:creationId xmlns:a16="http://schemas.microsoft.com/office/drawing/2014/main" id="{56F7EA81-A468-D006-7DA2-721D67196E48}"/>
              </a:ext>
            </a:extLst>
          </p:cNvPr>
          <p:cNvSpPr>
            <a:spLocks noGrp="1"/>
          </p:cNvSpPr>
          <p:nvPr>
            <p:ph type="ftr" sz="quarter" idx="15"/>
          </p:nvPr>
        </p:nvSpPr>
        <p:spPr/>
        <p:txBody>
          <a:bodyPr/>
          <a:lstStyle>
            <a:lvl1pPr>
              <a:defRPr>
                <a:solidFill>
                  <a:schemeClr val="bg1"/>
                </a:solidFill>
              </a:defRPr>
            </a:lvl1pPr>
          </a:lstStyle>
          <a:p>
            <a:r>
              <a:rPr lang="de-CH"/>
              <a:t>ECP / 17.10.2022</a:t>
            </a:r>
            <a:endParaRPr lang="de-CH" dirty="0"/>
          </a:p>
        </p:txBody>
      </p:sp>
      <p:sp>
        <p:nvSpPr>
          <p:cNvPr id="3" name="Titel 2">
            <a:extLst>
              <a:ext uri="{FF2B5EF4-FFF2-40B4-BE49-F238E27FC236}">
                <a16:creationId xmlns:a16="http://schemas.microsoft.com/office/drawing/2014/main" id="{D3772D27-C60C-4205-B92E-61CCD4B69242}"/>
              </a:ext>
            </a:extLst>
          </p:cNvPr>
          <p:cNvSpPr>
            <a:spLocks noGrp="1"/>
          </p:cNvSpPr>
          <p:nvPr>
            <p:ph type="title"/>
          </p:nvPr>
        </p:nvSpPr>
        <p:spPr>
          <a:xfrm>
            <a:off x="376982" y="300465"/>
            <a:ext cx="9662368" cy="415498"/>
          </a:xfrm>
        </p:spPr>
        <p:txBody>
          <a:bodyPr vert="horz"/>
          <a:lstStyle>
            <a:lvl1pPr>
              <a:defRPr>
                <a:solidFill>
                  <a:schemeClr val="bg1"/>
                </a:solidFill>
              </a:defRPr>
            </a:lvl1pPr>
          </a:lstStyle>
          <a:p>
            <a:r>
              <a:rPr lang="de-DE"/>
              <a:t>Titelmasterformat durch Klicken bearbeiten</a:t>
            </a:r>
            <a:endParaRPr lang="en-US"/>
          </a:p>
        </p:txBody>
      </p:sp>
    </p:spTree>
    <p:extLst>
      <p:ext uri="{BB962C8B-B14F-4D97-AF65-F5344CB8AC3E}">
        <p14:creationId xmlns:p14="http://schemas.microsoft.com/office/powerpoint/2010/main" val="18047813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6835511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8000" y="6285600"/>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16" name="Textplatzhalter 15">
            <a:extLst>
              <a:ext uri="{FF2B5EF4-FFF2-40B4-BE49-F238E27FC236}">
                <a16:creationId xmlns:a16="http://schemas.microsoft.com/office/drawing/2014/main" id="{9781C374-F9AC-450E-B7EE-9C51B2BD12E7}"/>
              </a:ext>
            </a:extLst>
          </p:cNvPr>
          <p:cNvSpPr>
            <a:spLocks noGrp="1"/>
          </p:cNvSpPr>
          <p:nvPr>
            <p:ph type="body" sz="quarter" idx="17" hasCustomPrompt="1"/>
          </p:nvPr>
        </p:nvSpPr>
        <p:spPr>
          <a:xfrm>
            <a:off x="376981" y="1608111"/>
            <a:ext cx="9662369" cy="1107996"/>
          </a:xfrm>
        </p:spPr>
        <p:txBody>
          <a:bodyPr>
            <a:spAutoFit/>
          </a:bodyPr>
          <a:lstStyle>
            <a:lvl1pPr marL="182563" indent="-182563">
              <a:buFont typeface="Calibri" panose="020F0502020204030204" pitchFamily="34" charset="0"/>
              <a:buChar char="‒"/>
              <a:defRPr/>
            </a:lvl1pPr>
            <a:lvl2pPr marL="355600" indent="-177800">
              <a:defRPr/>
            </a:lvl2pPr>
            <a:lvl3pPr marL="538163" indent="-177800">
              <a:defRPr/>
            </a:lvl3pPr>
            <a:lvl4pPr marL="182563" indent="-176213">
              <a:buFont typeface="Calibri" panose="020F0502020204030204" pitchFamily="34" charset="0"/>
              <a:buChar char="‒"/>
              <a:defRPr/>
            </a:lvl4pPr>
            <a:lvl5pPr marL="355600" indent="-177800">
              <a:defRPr/>
            </a:lvl5pPr>
            <a:lvl6pPr marL="538163" indent="-180975">
              <a:defRPr/>
            </a:lvl6pPr>
          </a:lstStyle>
          <a:p>
            <a:pPr lvl="0"/>
            <a:r>
              <a:rPr lang="de-DE" dirty="0" err="1"/>
              <a:t>Agendapunkt</a:t>
            </a:r>
            <a:r>
              <a:rPr lang="de-DE" dirty="0"/>
              <a:t> 1</a:t>
            </a:r>
          </a:p>
          <a:p>
            <a:pPr lvl="0"/>
            <a:r>
              <a:rPr lang="de-DE" dirty="0" err="1"/>
              <a:t>Agendapunkt</a:t>
            </a:r>
            <a:r>
              <a:rPr lang="de-DE" dirty="0"/>
              <a:t> 2</a:t>
            </a:r>
          </a:p>
          <a:p>
            <a:pPr lvl="0"/>
            <a:r>
              <a:rPr lang="de-DE" dirty="0" err="1"/>
              <a:t>Agendapunkt</a:t>
            </a:r>
            <a:r>
              <a:rPr lang="de-DE" dirty="0"/>
              <a:t> 3</a:t>
            </a:r>
          </a:p>
          <a:p>
            <a:pPr lvl="0"/>
            <a:r>
              <a:rPr lang="de-DE" dirty="0" err="1"/>
              <a:t>Agendapunkt</a:t>
            </a:r>
            <a:r>
              <a:rPr lang="de-DE" dirty="0"/>
              <a:t> 4</a:t>
            </a:r>
            <a:endParaRPr lang="en-US" dirty="0"/>
          </a:p>
        </p:txBody>
      </p:sp>
      <p:sp>
        <p:nvSpPr>
          <p:cNvPr id="4" name="Fußzeilenplatzhalter 3">
            <a:extLst>
              <a:ext uri="{FF2B5EF4-FFF2-40B4-BE49-F238E27FC236}">
                <a16:creationId xmlns:a16="http://schemas.microsoft.com/office/drawing/2014/main" id="{619D7B49-65CA-5C2E-C772-175C776B5991}"/>
              </a:ext>
            </a:extLst>
          </p:cNvPr>
          <p:cNvSpPr>
            <a:spLocks noGrp="1"/>
          </p:cNvSpPr>
          <p:nvPr>
            <p:ph type="ftr" sz="quarter" idx="18"/>
          </p:nvPr>
        </p:nvSpPr>
        <p:spPr/>
        <p:txBody>
          <a:bodyPr/>
          <a:lstStyle/>
          <a:p>
            <a:r>
              <a:rPr lang="de-CH"/>
              <a:t>ECP / 17.10.2022</a:t>
            </a:r>
            <a:endParaRPr lang="de-CH" dirty="0"/>
          </a:p>
        </p:txBody>
      </p:sp>
      <p:sp>
        <p:nvSpPr>
          <p:cNvPr id="5" name="Foliennummernplatzhalter 4">
            <a:extLst>
              <a:ext uri="{FF2B5EF4-FFF2-40B4-BE49-F238E27FC236}">
                <a16:creationId xmlns:a16="http://schemas.microsoft.com/office/drawing/2014/main" id="{3E6300E5-FA7A-660A-F2D0-382F24272881}"/>
              </a:ext>
            </a:extLst>
          </p:cNvPr>
          <p:cNvSpPr>
            <a:spLocks noGrp="1"/>
          </p:cNvSpPr>
          <p:nvPr>
            <p:ph type="sldNum" sz="quarter" idx="19"/>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2" name="Titel 1">
            <a:extLst>
              <a:ext uri="{FF2B5EF4-FFF2-40B4-BE49-F238E27FC236}">
                <a16:creationId xmlns:a16="http://schemas.microsoft.com/office/drawing/2014/main" id="{C73D6526-4100-82F5-3ECF-41D57D8C5819}"/>
              </a:ext>
            </a:extLst>
          </p:cNvPr>
          <p:cNvSpPr>
            <a:spLocks noGrp="1"/>
          </p:cNvSpPr>
          <p:nvPr>
            <p:ph type="title" hasCustomPrompt="1"/>
          </p:nvPr>
        </p:nvSpPr>
        <p:spPr>
          <a:xfrm>
            <a:off x="376982" y="300465"/>
            <a:ext cx="9662368" cy="415498"/>
          </a:xfrm>
        </p:spPr>
        <p:txBody>
          <a:bodyPr vert="horz"/>
          <a:lstStyle>
            <a:lvl1pPr>
              <a:defRPr/>
            </a:lvl1pPr>
          </a:lstStyle>
          <a:p>
            <a:r>
              <a:rPr lang="de-DE" dirty="0"/>
              <a:t>Agenda</a:t>
            </a:r>
            <a:endParaRPr lang="en-US" dirty="0"/>
          </a:p>
        </p:txBody>
      </p:sp>
    </p:spTree>
    <p:extLst>
      <p:ext uri="{BB962C8B-B14F-4D97-AF65-F5344CB8AC3E}">
        <p14:creationId xmlns:p14="http://schemas.microsoft.com/office/powerpoint/2010/main" val="1317102866"/>
      </p:ext>
    </p:extLst>
  </p:cSld>
  <p:clrMapOvr>
    <a:masterClrMapping/>
  </p:clrMapOvr>
  <p:extLst>
    <p:ext uri="{DCECCB84-F9BA-43D5-87BE-67443E8EF086}">
      <p15:sldGuideLst xmlns:p15="http://schemas.microsoft.com/office/powerpoint/2012/main">
        <p15:guide id="1" orient="horz" pos="1011">
          <p15:clr>
            <a:srgbClr val="FBAE40"/>
          </p15:clr>
        </p15:guide>
        <p15:guide id="2" orient="horz" pos="104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mit Foto">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6950872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Bildplatzhalter 6">
            <a:extLst>
              <a:ext uri="{FF2B5EF4-FFF2-40B4-BE49-F238E27FC236}">
                <a16:creationId xmlns:a16="http://schemas.microsoft.com/office/drawing/2014/main" id="{3F69997E-FA28-0617-3862-619A3B6AEF64}"/>
              </a:ext>
            </a:extLst>
          </p:cNvPr>
          <p:cNvSpPr>
            <a:spLocks noGrp="1" noChangeAspect="1"/>
          </p:cNvSpPr>
          <p:nvPr>
            <p:ph type="pic" sz="quarter" idx="21" hasCustomPrompt="1"/>
          </p:nvPr>
        </p:nvSpPr>
        <p:spPr>
          <a:xfrm>
            <a:off x="6188448" y="188913"/>
            <a:ext cx="5811465" cy="6502036"/>
          </a:xfrm>
          <a:solidFill>
            <a:schemeClr val="accent3"/>
          </a:solidFill>
        </p:spPr>
        <p:txBody>
          <a:bodyPr>
            <a:noAutofit/>
          </a:bodyPr>
          <a:lstStyle>
            <a:lvl1pPr>
              <a:defRPr/>
            </a:lvl1pPr>
          </a:lstStyle>
          <a:p>
            <a:r>
              <a:rPr lang="en-US" dirty="0"/>
              <a:t> </a:t>
            </a:r>
          </a:p>
        </p:txBody>
      </p:sp>
      <p:sp>
        <p:nvSpPr>
          <p:cNvPr id="6" name="Rechteck 5">
            <a:extLst>
              <a:ext uri="{FF2B5EF4-FFF2-40B4-BE49-F238E27FC236}">
                <a16:creationId xmlns:a16="http://schemas.microsoft.com/office/drawing/2014/main" id="{7C5CEBF5-631E-BA7F-CF6D-7C1A1DC17354}"/>
              </a:ext>
            </a:extLst>
          </p:cNvPr>
          <p:cNvSpPr/>
          <p:nvPr userDrawn="1"/>
        </p:nvSpPr>
        <p:spPr bwMode="auto">
          <a:xfrm>
            <a:off x="196982" y="188913"/>
            <a:ext cx="5811466" cy="648011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8000" y="6285600"/>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16" name="Textplatzhalter 15">
            <a:extLst>
              <a:ext uri="{FF2B5EF4-FFF2-40B4-BE49-F238E27FC236}">
                <a16:creationId xmlns:a16="http://schemas.microsoft.com/office/drawing/2014/main" id="{9781C374-F9AC-450E-B7EE-9C51B2BD12E7}"/>
              </a:ext>
            </a:extLst>
          </p:cNvPr>
          <p:cNvSpPr>
            <a:spLocks noGrp="1"/>
          </p:cNvSpPr>
          <p:nvPr>
            <p:ph type="body" sz="quarter" idx="17" hasCustomPrompt="1"/>
          </p:nvPr>
        </p:nvSpPr>
        <p:spPr>
          <a:xfrm>
            <a:off x="376981" y="1608111"/>
            <a:ext cx="5447557" cy="1107996"/>
          </a:xfrm>
        </p:spPr>
        <p:txBody>
          <a:bodyPr wrap="square">
            <a:spAutoFit/>
          </a:bodyPr>
          <a:lstStyle>
            <a:lvl1pPr marL="182563" indent="-182563">
              <a:buFont typeface="Calibri" panose="020F0502020204030204" pitchFamily="34" charset="0"/>
              <a:buChar char="‒"/>
              <a:defRPr/>
            </a:lvl1pPr>
            <a:lvl2pPr marL="355600" indent="-177800">
              <a:defRPr/>
            </a:lvl2pPr>
            <a:lvl3pPr marL="538163" indent="-177800">
              <a:defRPr/>
            </a:lvl3pPr>
            <a:lvl4pPr marL="182563" indent="-176213">
              <a:buFont typeface="Calibri" panose="020F0502020204030204" pitchFamily="34" charset="0"/>
              <a:buChar char="‒"/>
              <a:defRPr/>
            </a:lvl4pPr>
            <a:lvl5pPr marL="355600" indent="-177800">
              <a:defRPr/>
            </a:lvl5pPr>
            <a:lvl6pPr marL="538163" indent="-180975">
              <a:defRPr/>
            </a:lvl6pPr>
          </a:lstStyle>
          <a:p>
            <a:pPr lvl="0"/>
            <a:r>
              <a:rPr lang="de-DE" dirty="0" err="1"/>
              <a:t>Agendapunkt</a:t>
            </a:r>
            <a:r>
              <a:rPr lang="de-DE" dirty="0"/>
              <a:t> 1</a:t>
            </a:r>
          </a:p>
          <a:p>
            <a:pPr lvl="0"/>
            <a:r>
              <a:rPr lang="de-DE" dirty="0" err="1"/>
              <a:t>Agendapunkt</a:t>
            </a:r>
            <a:r>
              <a:rPr lang="de-DE" dirty="0"/>
              <a:t> 2</a:t>
            </a:r>
          </a:p>
          <a:p>
            <a:pPr lvl="0"/>
            <a:r>
              <a:rPr lang="de-DE" dirty="0" err="1"/>
              <a:t>Agendapunkt</a:t>
            </a:r>
            <a:r>
              <a:rPr lang="de-DE" dirty="0"/>
              <a:t> 3</a:t>
            </a:r>
          </a:p>
          <a:p>
            <a:pPr lvl="0"/>
            <a:r>
              <a:rPr lang="de-DE" dirty="0" err="1"/>
              <a:t>Agendapunkt</a:t>
            </a:r>
            <a:r>
              <a:rPr lang="de-DE" dirty="0"/>
              <a:t> 4</a:t>
            </a:r>
            <a:endParaRPr lang="en-US" dirty="0"/>
          </a:p>
        </p:txBody>
      </p:sp>
      <p:sp>
        <p:nvSpPr>
          <p:cNvPr id="4" name="Fußzeilenplatzhalter 3">
            <a:extLst>
              <a:ext uri="{FF2B5EF4-FFF2-40B4-BE49-F238E27FC236}">
                <a16:creationId xmlns:a16="http://schemas.microsoft.com/office/drawing/2014/main" id="{619D7B49-65CA-5C2E-C772-175C776B5991}"/>
              </a:ext>
            </a:extLst>
          </p:cNvPr>
          <p:cNvSpPr>
            <a:spLocks noGrp="1"/>
          </p:cNvSpPr>
          <p:nvPr>
            <p:ph type="ftr" sz="quarter" idx="18"/>
          </p:nvPr>
        </p:nvSpPr>
        <p:spPr/>
        <p:txBody>
          <a:bodyPr/>
          <a:lstStyle/>
          <a:p>
            <a:r>
              <a:rPr lang="de-CH"/>
              <a:t>ECP / 17.10.2022</a:t>
            </a:r>
            <a:endParaRPr lang="de-CH" dirty="0"/>
          </a:p>
        </p:txBody>
      </p:sp>
      <p:sp>
        <p:nvSpPr>
          <p:cNvPr id="5" name="Foliennummernplatzhalter 4">
            <a:extLst>
              <a:ext uri="{FF2B5EF4-FFF2-40B4-BE49-F238E27FC236}">
                <a16:creationId xmlns:a16="http://schemas.microsoft.com/office/drawing/2014/main" id="{3E6300E5-FA7A-660A-F2D0-382F24272881}"/>
              </a:ext>
            </a:extLst>
          </p:cNvPr>
          <p:cNvSpPr>
            <a:spLocks noGrp="1"/>
          </p:cNvSpPr>
          <p:nvPr>
            <p:ph type="sldNum" sz="quarter" idx="19"/>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2" name="Titel 1">
            <a:extLst>
              <a:ext uri="{FF2B5EF4-FFF2-40B4-BE49-F238E27FC236}">
                <a16:creationId xmlns:a16="http://schemas.microsoft.com/office/drawing/2014/main" id="{C73D6526-4100-82F5-3ECF-41D57D8C5819}"/>
              </a:ext>
            </a:extLst>
          </p:cNvPr>
          <p:cNvSpPr>
            <a:spLocks noGrp="1"/>
          </p:cNvSpPr>
          <p:nvPr>
            <p:ph type="title" hasCustomPrompt="1"/>
          </p:nvPr>
        </p:nvSpPr>
        <p:spPr>
          <a:xfrm>
            <a:off x="376982" y="300465"/>
            <a:ext cx="5447556" cy="415498"/>
          </a:xfrm>
        </p:spPr>
        <p:txBody>
          <a:bodyPr vert="horz"/>
          <a:lstStyle>
            <a:lvl1pPr>
              <a:defRPr/>
            </a:lvl1pPr>
          </a:lstStyle>
          <a:p>
            <a:r>
              <a:rPr lang="de-DE" dirty="0"/>
              <a:t>Agenda</a:t>
            </a:r>
            <a:endParaRPr lang="en-US" dirty="0"/>
          </a:p>
        </p:txBody>
      </p:sp>
    </p:spTree>
    <p:extLst>
      <p:ext uri="{BB962C8B-B14F-4D97-AF65-F5344CB8AC3E}">
        <p14:creationId xmlns:p14="http://schemas.microsoft.com/office/powerpoint/2010/main" val="841112083"/>
      </p:ext>
    </p:extLst>
  </p:cSld>
  <p:clrMapOvr>
    <a:masterClrMapping/>
  </p:clrMapOvr>
  <p:extLst>
    <p:ext uri="{DCECCB84-F9BA-43D5-87BE-67443E8EF086}">
      <p15:sldGuideLst xmlns:p15="http://schemas.microsoft.com/office/powerpoint/2012/main">
        <p15:guide id="1" orient="horz" pos="1011">
          <p15:clr>
            <a:srgbClr val="FBAE40"/>
          </p15:clr>
        </p15:guide>
        <p15:guide id="2" orient="horz" pos="1049">
          <p15:clr>
            <a:srgbClr val="FBAE40"/>
          </p15:clr>
        </p15:guide>
        <p15:guide id="3" pos="3897">
          <p15:clr>
            <a:srgbClr val="FBAE40"/>
          </p15:clr>
        </p15:guide>
        <p15:guide id="4" pos="3783">
          <p15:clr>
            <a:srgbClr val="FBAE40"/>
          </p15:clr>
        </p15:guide>
        <p15:guide id="5" pos="3669">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5328414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Textplatzhalter 9"/>
          <p:cNvSpPr>
            <a:spLocks noGrp="1"/>
          </p:cNvSpPr>
          <p:nvPr>
            <p:ph type="body" sz="quarter" idx="14" hasCustomPrompt="1"/>
          </p:nvPr>
        </p:nvSpPr>
        <p:spPr>
          <a:xfrm>
            <a:off x="943509" y="6387350"/>
            <a:ext cx="6371690" cy="123111"/>
          </a:xfrm>
        </p:spPr>
        <p:txBody>
          <a:bodyPr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8000" y="6285600"/>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16" name="Textplatzhalter 15">
            <a:extLst>
              <a:ext uri="{FF2B5EF4-FFF2-40B4-BE49-F238E27FC236}">
                <a16:creationId xmlns:a16="http://schemas.microsoft.com/office/drawing/2014/main" id="{9781C374-F9AC-450E-B7EE-9C51B2BD12E7}"/>
              </a:ext>
            </a:extLst>
          </p:cNvPr>
          <p:cNvSpPr>
            <a:spLocks noGrp="1"/>
          </p:cNvSpPr>
          <p:nvPr>
            <p:ph type="body" sz="quarter" idx="17"/>
          </p:nvPr>
        </p:nvSpPr>
        <p:spPr>
          <a:xfrm>
            <a:off x="376981" y="1608111"/>
            <a:ext cx="9662369" cy="1740149"/>
          </a:xfrm>
        </p:spPr>
        <p:txBody>
          <a:bodyPr>
            <a:spAutoFit/>
          </a:bodyPr>
          <a:lstStyle>
            <a:lvl5pPr>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Fußzeilenplatzhalter 3">
            <a:extLst>
              <a:ext uri="{FF2B5EF4-FFF2-40B4-BE49-F238E27FC236}">
                <a16:creationId xmlns:a16="http://schemas.microsoft.com/office/drawing/2014/main" id="{619D7B49-65CA-5C2E-C772-175C776B5991}"/>
              </a:ext>
            </a:extLst>
          </p:cNvPr>
          <p:cNvSpPr>
            <a:spLocks noGrp="1"/>
          </p:cNvSpPr>
          <p:nvPr>
            <p:ph type="ftr" sz="quarter" idx="18"/>
          </p:nvPr>
        </p:nvSpPr>
        <p:spPr/>
        <p:txBody>
          <a:bodyPr/>
          <a:lstStyle/>
          <a:p>
            <a:r>
              <a:rPr lang="de-CH"/>
              <a:t>ECP / 17.10.2022</a:t>
            </a:r>
            <a:endParaRPr lang="de-CH" dirty="0"/>
          </a:p>
        </p:txBody>
      </p:sp>
      <p:sp>
        <p:nvSpPr>
          <p:cNvPr id="5" name="Foliennummernplatzhalter 4">
            <a:extLst>
              <a:ext uri="{FF2B5EF4-FFF2-40B4-BE49-F238E27FC236}">
                <a16:creationId xmlns:a16="http://schemas.microsoft.com/office/drawing/2014/main" id="{3E6300E5-FA7A-660A-F2D0-382F24272881}"/>
              </a:ext>
            </a:extLst>
          </p:cNvPr>
          <p:cNvSpPr>
            <a:spLocks noGrp="1"/>
          </p:cNvSpPr>
          <p:nvPr>
            <p:ph type="sldNum" sz="quarter" idx="19"/>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2" name="Titel 1">
            <a:extLst>
              <a:ext uri="{FF2B5EF4-FFF2-40B4-BE49-F238E27FC236}">
                <a16:creationId xmlns:a16="http://schemas.microsoft.com/office/drawing/2014/main" id="{B0C6DEB9-A9AA-31D9-5ED6-A8D6C9582328}"/>
              </a:ext>
            </a:extLst>
          </p:cNvPr>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414061612"/>
      </p:ext>
    </p:extLst>
  </p:cSld>
  <p:clrMapOvr>
    <a:masterClrMapping/>
  </p:clrMapOvr>
  <p:extLst>
    <p:ext uri="{DCECCB84-F9BA-43D5-87BE-67443E8EF086}">
      <p15:sldGuideLst xmlns:p15="http://schemas.microsoft.com/office/powerpoint/2012/main">
        <p15:guide id="1" orient="horz" pos="1011">
          <p15:clr>
            <a:srgbClr val="FBAE40"/>
          </p15:clr>
        </p15:guide>
        <p15:guide id="2" orient="horz" pos="104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Inhalt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40582612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96FEF153-3CE1-44A8-8667-253B994E58C0}"/>
              </a:ext>
            </a:extLst>
          </p:cNvPr>
          <p:cNvSpPr/>
          <p:nvPr userDrawn="1"/>
        </p:nvSpPr>
        <p:spPr bwMode="auto">
          <a:xfrm>
            <a:off x="196982" y="188913"/>
            <a:ext cx="5808531" cy="6480175"/>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2" name="Titel 1">
            <a:extLst>
              <a:ext uri="{FF2B5EF4-FFF2-40B4-BE49-F238E27FC236}">
                <a16:creationId xmlns:a16="http://schemas.microsoft.com/office/drawing/2014/main" id="{43BF3BCA-2630-41A3-9818-C2F686963DB7}"/>
              </a:ext>
            </a:extLst>
          </p:cNvPr>
          <p:cNvSpPr>
            <a:spLocks noGrp="1"/>
          </p:cNvSpPr>
          <p:nvPr>
            <p:ph type="title"/>
          </p:nvPr>
        </p:nvSpPr>
        <p:spPr>
          <a:xfrm>
            <a:off x="196982" y="188912"/>
            <a:ext cx="5808531" cy="706311"/>
          </a:xfrm>
          <a:noFill/>
        </p:spPr>
        <p:txBody>
          <a:bodyPr vert="horz">
            <a:spAutoFit/>
          </a:bodyPr>
          <a:lstStyle/>
          <a:p>
            <a:r>
              <a:rPr lang="de-DE"/>
              <a:t>Mastertitelformat bearbeiten</a:t>
            </a:r>
            <a:endParaRPr lang="en-US" dirty="0"/>
          </a:p>
        </p:txBody>
      </p:sp>
      <p:sp>
        <p:nvSpPr>
          <p:cNvPr id="14" name="Rechteck 13">
            <a:extLst>
              <a:ext uri="{FF2B5EF4-FFF2-40B4-BE49-F238E27FC236}">
                <a16:creationId xmlns:a16="http://schemas.microsoft.com/office/drawing/2014/main" id="{6FF1498E-33E8-4BF9-A806-8CB3E5809499}"/>
              </a:ext>
            </a:extLst>
          </p:cNvPr>
          <p:cNvSpPr/>
          <p:nvPr userDrawn="1"/>
        </p:nvSpPr>
        <p:spPr bwMode="auto">
          <a:xfrm>
            <a:off x="6186486" y="3519000"/>
            <a:ext cx="5808531" cy="3150089"/>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0" name="Textplatzhalter 9"/>
          <p:cNvSpPr>
            <a:spLocks noGrp="1"/>
          </p:cNvSpPr>
          <p:nvPr>
            <p:ph type="body" sz="quarter" idx="14" hasCustomPrompt="1"/>
          </p:nvPr>
        </p:nvSpPr>
        <p:spPr>
          <a:xfrm>
            <a:off x="943509" y="6365921"/>
            <a:ext cx="4884204" cy="123111"/>
          </a:xfrm>
        </p:spPr>
        <p:txBody>
          <a:bodyPr wrap="square"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9" name="Foliennummernplatzhalter 8">
            <a:extLst>
              <a:ext uri="{FF2B5EF4-FFF2-40B4-BE49-F238E27FC236}">
                <a16:creationId xmlns:a16="http://schemas.microsoft.com/office/drawing/2014/main" id="{D77D3E21-0F70-48B6-BBE3-8C1A28840C45}"/>
              </a:ext>
            </a:extLst>
          </p:cNvPr>
          <p:cNvSpPr>
            <a:spLocks noGrp="1"/>
          </p:cNvSpPr>
          <p:nvPr>
            <p:ph type="sldNum" sz="quarter" idx="16"/>
          </p:nvPr>
        </p:nvSpPr>
        <p:spPr/>
        <p:txBody>
          <a:body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
        <p:nvSpPr>
          <p:cNvPr id="15" name="Rechteck 14">
            <a:extLst>
              <a:ext uri="{FF2B5EF4-FFF2-40B4-BE49-F238E27FC236}">
                <a16:creationId xmlns:a16="http://schemas.microsoft.com/office/drawing/2014/main" id="{441A5CBB-72D5-4772-A5C2-E34321CD2ADE}"/>
              </a:ext>
            </a:extLst>
          </p:cNvPr>
          <p:cNvSpPr/>
          <p:nvPr userDrawn="1"/>
        </p:nvSpPr>
        <p:spPr bwMode="auto">
          <a:xfrm>
            <a:off x="6186486" y="188913"/>
            <a:ext cx="5808531" cy="3150087"/>
          </a:xfrm>
          <a:prstGeom prst="rect">
            <a:avLst/>
          </a:prstGeom>
          <a:solidFill>
            <a:schemeClr val="bg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500" b="0" i="0" u="none" strike="noStrike" cap="none" normalizeH="0" baseline="0" dirty="0" err="1">
              <a:ln>
                <a:noFill/>
              </a:ln>
              <a:solidFill>
                <a:schemeClr val="tx1"/>
              </a:solidFill>
              <a:effectLst/>
              <a:latin typeface="Arial" charset="0"/>
              <a:ea typeface="MS PGothic" pitchFamily="34" charset="-128"/>
            </a:endParaRPr>
          </a:p>
        </p:txBody>
      </p:sp>
      <p:sp>
        <p:nvSpPr>
          <p:cNvPr id="17" name="Textplatzhalter 15">
            <a:extLst>
              <a:ext uri="{FF2B5EF4-FFF2-40B4-BE49-F238E27FC236}">
                <a16:creationId xmlns:a16="http://schemas.microsoft.com/office/drawing/2014/main" id="{B530CDC8-04EE-4D24-BB0A-E5DE80A57178}"/>
              </a:ext>
            </a:extLst>
          </p:cNvPr>
          <p:cNvSpPr>
            <a:spLocks noGrp="1"/>
          </p:cNvSpPr>
          <p:nvPr>
            <p:ph type="body" sz="quarter" idx="17"/>
          </p:nvPr>
        </p:nvSpPr>
        <p:spPr>
          <a:xfrm>
            <a:off x="6189662" y="188913"/>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Textplatzhalter 15">
            <a:extLst>
              <a:ext uri="{FF2B5EF4-FFF2-40B4-BE49-F238E27FC236}">
                <a16:creationId xmlns:a16="http://schemas.microsoft.com/office/drawing/2014/main" id="{6062F357-1E85-49D9-B9CC-D5A61AEA4D19}"/>
              </a:ext>
            </a:extLst>
          </p:cNvPr>
          <p:cNvSpPr>
            <a:spLocks noGrp="1"/>
          </p:cNvSpPr>
          <p:nvPr>
            <p:ph type="body" sz="quarter" idx="19"/>
          </p:nvPr>
        </p:nvSpPr>
        <p:spPr>
          <a:xfrm>
            <a:off x="6189662" y="3519000"/>
            <a:ext cx="5808531" cy="1693983"/>
          </a:xfrm>
        </p:spPr>
        <p:txBody>
          <a:bodyPr lIns="180000" tIns="126000" rIns="180000" bIns="18000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014778478"/>
      </p:ext>
    </p:extLst>
  </p:cSld>
  <p:clrMapOvr>
    <a:masterClrMapping/>
  </p:clrMapOvr>
  <p:extLst>
    <p:ext uri="{DCECCB84-F9BA-43D5-87BE-67443E8EF086}">
      <p15:sldGuideLst xmlns:p15="http://schemas.microsoft.com/office/powerpoint/2012/main">
        <p15:guide id="1" pos="3783">
          <p15:clr>
            <a:srgbClr val="FBAE40"/>
          </p15:clr>
        </p15:guide>
        <p15:guide id="2" pos="367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el und Inhalt, weiß">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53284147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7" name="Objek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0" name="Textplatzhalter 9"/>
          <p:cNvSpPr>
            <a:spLocks noGrp="1"/>
          </p:cNvSpPr>
          <p:nvPr>
            <p:ph type="body" sz="quarter" idx="14" hasCustomPrompt="1"/>
          </p:nvPr>
        </p:nvSpPr>
        <p:spPr>
          <a:xfrm>
            <a:off x="943509" y="6387350"/>
            <a:ext cx="6371690" cy="123111"/>
          </a:xfrm>
        </p:spPr>
        <p:txBody>
          <a:bodyPr lIns="0" tIns="0" rIns="0" bIns="0" anchor="b">
            <a:spAutoFit/>
          </a:bodyPr>
          <a:lstStyle>
            <a:lvl1pPr>
              <a:defRPr sz="800" baseline="0"/>
            </a:lvl1pPr>
            <a:lvl2pPr>
              <a:defRPr sz="1000"/>
            </a:lvl2pPr>
            <a:lvl3pPr>
              <a:defRPr sz="1000"/>
            </a:lvl3pPr>
            <a:lvl4pPr>
              <a:defRPr sz="1000"/>
            </a:lvl4pPr>
            <a:lvl5pPr>
              <a:defRPr sz="1000"/>
            </a:lvl5pPr>
          </a:lstStyle>
          <a:p>
            <a:pPr lvl="0"/>
            <a:r>
              <a:rPr lang="de-DE" dirty="0"/>
              <a:t>Hier steht eine Fußnote in 8 </a:t>
            </a:r>
            <a:r>
              <a:rPr lang="de-DE" dirty="0" err="1"/>
              <a:t>pt</a:t>
            </a:r>
            <a:r>
              <a:rPr lang="de-DE" dirty="0"/>
              <a:t> Schriftgröße</a:t>
            </a:r>
            <a:endParaRPr lang="de-AT" dirty="0"/>
          </a:p>
        </p:txBody>
      </p:sp>
      <p:sp>
        <p:nvSpPr>
          <p:cNvPr id="13" name="Grafik 46">
            <a:extLst>
              <a:ext uri="{FF2B5EF4-FFF2-40B4-BE49-F238E27FC236}">
                <a16:creationId xmlns:a16="http://schemas.microsoft.com/office/drawing/2014/main" id="{FA0263EB-5510-492D-8CF3-1CC26D218ECE}"/>
              </a:ext>
            </a:extLst>
          </p:cNvPr>
          <p:cNvSpPr>
            <a:spLocks noChangeAspect="1"/>
          </p:cNvSpPr>
          <p:nvPr userDrawn="1"/>
        </p:nvSpPr>
        <p:spPr>
          <a:xfrm>
            <a:off x="378000" y="6285600"/>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endParaRPr lang="en-US"/>
          </a:p>
        </p:txBody>
      </p:sp>
      <p:sp>
        <p:nvSpPr>
          <p:cNvPr id="16" name="Textplatzhalter 15">
            <a:extLst>
              <a:ext uri="{FF2B5EF4-FFF2-40B4-BE49-F238E27FC236}">
                <a16:creationId xmlns:a16="http://schemas.microsoft.com/office/drawing/2014/main" id="{9781C374-F9AC-450E-B7EE-9C51B2BD12E7}"/>
              </a:ext>
            </a:extLst>
          </p:cNvPr>
          <p:cNvSpPr>
            <a:spLocks noGrp="1"/>
          </p:cNvSpPr>
          <p:nvPr>
            <p:ph type="body" sz="quarter" idx="17"/>
          </p:nvPr>
        </p:nvSpPr>
        <p:spPr>
          <a:xfrm>
            <a:off x="376981" y="1608111"/>
            <a:ext cx="9662369" cy="1740149"/>
          </a:xfrm>
        </p:spPr>
        <p:txBody>
          <a:bodyPr>
            <a:spAutoFit/>
          </a:bodyPr>
          <a:lstStyle>
            <a:lvl5pPr>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Fußzeilenplatzhalter 3">
            <a:extLst>
              <a:ext uri="{FF2B5EF4-FFF2-40B4-BE49-F238E27FC236}">
                <a16:creationId xmlns:a16="http://schemas.microsoft.com/office/drawing/2014/main" id="{619D7B49-65CA-5C2E-C772-175C776B5991}"/>
              </a:ext>
            </a:extLst>
          </p:cNvPr>
          <p:cNvSpPr>
            <a:spLocks noGrp="1"/>
          </p:cNvSpPr>
          <p:nvPr>
            <p:ph type="ftr" sz="quarter" idx="18"/>
          </p:nvPr>
        </p:nvSpPr>
        <p:spPr/>
        <p:txBody>
          <a:bodyPr/>
          <a:lstStyle/>
          <a:p>
            <a:r>
              <a:rPr lang="de-CH"/>
              <a:t>ECP / 17.10.2022</a:t>
            </a:r>
            <a:endParaRPr lang="de-CH" dirty="0"/>
          </a:p>
        </p:txBody>
      </p:sp>
      <p:sp>
        <p:nvSpPr>
          <p:cNvPr id="5" name="Foliennummernplatzhalter 4">
            <a:extLst>
              <a:ext uri="{FF2B5EF4-FFF2-40B4-BE49-F238E27FC236}">
                <a16:creationId xmlns:a16="http://schemas.microsoft.com/office/drawing/2014/main" id="{3E6300E5-FA7A-660A-F2D0-382F24272881}"/>
              </a:ext>
            </a:extLst>
          </p:cNvPr>
          <p:cNvSpPr>
            <a:spLocks noGrp="1"/>
          </p:cNvSpPr>
          <p:nvPr>
            <p:ph type="sldNum" sz="quarter" idx="19"/>
          </p:nvPr>
        </p:nvSpPr>
        <p:spPr/>
        <p:txBody>
          <a:body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Nr.›</a:t>
            </a:fld>
            <a:endParaRPr lang="de-AT" dirty="0"/>
          </a:p>
        </p:txBody>
      </p:sp>
      <p:sp>
        <p:nvSpPr>
          <p:cNvPr id="2" name="Titel 1">
            <a:extLst>
              <a:ext uri="{FF2B5EF4-FFF2-40B4-BE49-F238E27FC236}">
                <a16:creationId xmlns:a16="http://schemas.microsoft.com/office/drawing/2014/main" id="{B0C6DEB9-A9AA-31D9-5ED6-A8D6C9582328}"/>
              </a:ext>
            </a:extLst>
          </p:cNvPr>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1149623527"/>
      </p:ext>
    </p:extLst>
  </p:cSld>
  <p:clrMapOvr>
    <a:masterClrMapping/>
  </p:clrMapOvr>
  <p:extLst>
    <p:ext uri="{DCECCB84-F9BA-43D5-87BE-67443E8EF086}">
      <p15:sldGuideLst xmlns:p15="http://schemas.microsoft.com/office/powerpoint/2012/main">
        <p15:guide id="1" orient="horz" pos="1011">
          <p15:clr>
            <a:srgbClr val="FBAE40"/>
          </p15:clr>
        </p15:guide>
        <p15:guide id="2" orient="horz" pos="104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4.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tags" Target="../tags/tag60.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tags" Target="../tags/tag63.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tags" Target="../tags/tag6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tags" Target="../tags/tag61.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image" Target="../media/image1.emf"/><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oleObject" Target="../embeddings/oleObject45.bin"/><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08.xml"/><Relationship Id="rId3" Type="http://schemas.openxmlformats.org/officeDocument/2006/relationships/slideLayout" Target="../slideLayouts/slideLayout83.xml"/><Relationship Id="rId7" Type="http://schemas.openxmlformats.org/officeDocument/2006/relationships/tags" Target="../tags/tag107.xml"/><Relationship Id="rId12" Type="http://schemas.openxmlformats.org/officeDocument/2006/relationships/image" Target="../media/image1.emf"/><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3.xml"/><Relationship Id="rId11" Type="http://schemas.openxmlformats.org/officeDocument/2006/relationships/oleObject" Target="../embeddings/oleObject83.bin"/><Relationship Id="rId5" Type="http://schemas.openxmlformats.org/officeDocument/2006/relationships/slideLayout" Target="../slideLayouts/slideLayout85.xml"/><Relationship Id="rId10" Type="http://schemas.openxmlformats.org/officeDocument/2006/relationships/tags" Target="../tags/tag110.xml"/><Relationship Id="rId4" Type="http://schemas.openxmlformats.org/officeDocument/2006/relationships/slideLayout" Target="../slideLayouts/slideLayout84.xml"/><Relationship Id="rId9" Type="http://schemas.openxmlformats.org/officeDocument/2006/relationships/tags" Target="../tags/tag109.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20.xml"/><Relationship Id="rId3" Type="http://schemas.openxmlformats.org/officeDocument/2006/relationships/slideLayout" Target="../slideLayouts/slideLayout88.xml"/><Relationship Id="rId7" Type="http://schemas.openxmlformats.org/officeDocument/2006/relationships/tags" Target="../tags/tag119.xml"/><Relationship Id="rId12" Type="http://schemas.openxmlformats.org/officeDocument/2006/relationships/image" Target="../media/image1.emf"/><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theme" Target="../theme/theme4.xml"/><Relationship Id="rId11" Type="http://schemas.openxmlformats.org/officeDocument/2006/relationships/oleObject" Target="../embeddings/oleObject89.bin"/><Relationship Id="rId5" Type="http://schemas.openxmlformats.org/officeDocument/2006/relationships/slideLayout" Target="../slideLayouts/slideLayout90.xml"/><Relationship Id="rId10" Type="http://schemas.openxmlformats.org/officeDocument/2006/relationships/tags" Target="../tags/tag122.xml"/><Relationship Id="rId4" Type="http://schemas.openxmlformats.org/officeDocument/2006/relationships/slideLayout" Target="../slideLayouts/slideLayout89.xml"/><Relationship Id="rId9" Type="http://schemas.openxmlformats.org/officeDocument/2006/relationships/tags" Target="../tags/tag1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5"/>
            </p:custDataLst>
            <p:extLst>
              <p:ext uri="{D42A27DB-BD31-4B8C-83A1-F6EECF244321}">
                <p14:modId xmlns:p14="http://schemas.microsoft.com/office/powerpoint/2010/main" val="282906339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9" imgW="270" imgH="270" progId="TCLayout.ActiveDocument.1">
                  <p:embed/>
                </p:oleObj>
              </mc:Choice>
              <mc:Fallback>
                <p:oleObj name="think-cell Folie" r:id="rId49" imgW="270" imgH="270" progId="TCLayout.ActiveDocument.1">
                  <p:embed/>
                  <p:pic>
                    <p:nvPicPr>
                      <p:cNvPr id="2" name="Objekt 1" hidden="1"/>
                      <p:cNvPicPr/>
                      <p:nvPr/>
                    </p:nvPicPr>
                    <p:blipFill>
                      <a:blip r:embed="rId50"/>
                      <a:stretch>
                        <a:fillRect/>
                      </a:stretch>
                    </p:blipFill>
                    <p:spPr>
                      <a:xfrm>
                        <a:off x="2118" y="1589"/>
                        <a:ext cx="2116" cy="1587"/>
                      </a:xfrm>
                      <a:prstGeom prst="rect">
                        <a:avLst/>
                      </a:prstGeom>
                    </p:spPr>
                  </p:pic>
                </p:oleObj>
              </mc:Fallback>
            </mc:AlternateContent>
          </a:graphicData>
        </a:graphic>
      </p:graphicFrame>
      <p:sp>
        <p:nvSpPr>
          <p:cNvPr id="4099" name="Rectangle 3"/>
          <p:cNvSpPr>
            <a:spLocks noGrp="1" noChangeArrowheads="1"/>
          </p:cNvSpPr>
          <p:nvPr>
            <p:ph type="title"/>
            <p:custDataLst>
              <p:tags r:id="rId46"/>
            </p:custDataLst>
          </p:nvPr>
        </p:nvSpPr>
        <p:spPr bwMode="auto">
          <a:xfrm>
            <a:off x="196982" y="188913"/>
            <a:ext cx="7356343" cy="2025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pPr lvl="0"/>
            <a:r>
              <a:rPr lang="de-AT" noProof="0" dirty="0"/>
              <a:t>Titel setzen wir in Georgia</a:t>
            </a:r>
            <a:br>
              <a:rPr lang="de-AT" noProof="0" dirty="0"/>
            </a:br>
            <a:r>
              <a:rPr lang="de-AT" noProof="0" dirty="0"/>
              <a:t>idealerweise in 27 Punkt.</a:t>
            </a:r>
            <a:br>
              <a:rPr lang="de-AT" noProof="0" dirty="0"/>
            </a:br>
            <a:r>
              <a:rPr lang="de-AT" noProof="0" dirty="0"/>
              <a:t>Bevorzugt in Verbund-Blau</a:t>
            </a:r>
            <a:br>
              <a:rPr lang="de-AT" noProof="0" dirty="0"/>
            </a:br>
            <a:r>
              <a:rPr lang="de-AT" noProof="0" dirty="0"/>
              <a:t>oder weiß</a:t>
            </a:r>
          </a:p>
        </p:txBody>
      </p:sp>
      <p:sp>
        <p:nvSpPr>
          <p:cNvPr id="4100" name="Rectangle 4"/>
          <p:cNvSpPr>
            <a:spLocks noGrp="1" noChangeArrowheads="1"/>
          </p:cNvSpPr>
          <p:nvPr>
            <p:ph type="body" idx="1"/>
            <p:custDataLst>
              <p:tags r:id="rId47"/>
            </p:custDataLst>
          </p:nvPr>
        </p:nvSpPr>
        <p:spPr bwMode="auto">
          <a:xfrm>
            <a:off x="196982" y="3719131"/>
            <a:ext cx="5808531" cy="1748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180000" tIns="126000" rIns="180000" bIns="18000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4102" name="Rectangle 6"/>
          <p:cNvSpPr>
            <a:spLocks noGrp="1" noChangeArrowheads="1"/>
          </p:cNvSpPr>
          <p:nvPr>
            <p:ph type="sldNum" sz="quarter" idx="4"/>
            <p:custDataLst>
              <p:tags r:id="rId48"/>
            </p:custDataLst>
          </p:nvPr>
        </p:nvSpPr>
        <p:spPr bwMode="auto">
          <a:xfrm>
            <a:off x="9114656" y="6365922"/>
            <a:ext cx="2705869" cy="12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b" anchorCtr="0" compatLnSpc="1">
            <a:prstTxWarp prst="textNoShape">
              <a:avLst/>
            </a:prstTxWarp>
            <a:spAutoFit/>
          </a:bodyPr>
          <a:lstStyle>
            <a:lvl1pPr algn="l">
              <a:lnSpc>
                <a:spcPct val="100000"/>
              </a:lnSpc>
              <a:defRPr sz="800">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4041227350"/>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819" r:id="rId4"/>
    <p:sldLayoutId id="2147483703" r:id="rId5"/>
    <p:sldLayoutId id="2147483816" r:id="rId6"/>
    <p:sldLayoutId id="2147483798" r:id="rId7"/>
    <p:sldLayoutId id="2147483797" r:id="rId8"/>
    <p:sldLayoutId id="2147483809" r:id="rId9"/>
    <p:sldLayoutId id="2147483808" r:id="rId10"/>
    <p:sldLayoutId id="2147483811" r:id="rId11"/>
    <p:sldLayoutId id="2147483810" r:id="rId12"/>
    <p:sldLayoutId id="2147483807" r:id="rId13"/>
    <p:sldLayoutId id="2147483839" r:id="rId14"/>
    <p:sldLayoutId id="2147483814" r:id="rId15"/>
    <p:sldLayoutId id="2147483815" r:id="rId16"/>
    <p:sldLayoutId id="2147483849" r:id="rId17"/>
    <p:sldLayoutId id="2147483817" r:id="rId18"/>
    <p:sldLayoutId id="2147483843" r:id="rId19"/>
    <p:sldLayoutId id="2147483850" r:id="rId20"/>
    <p:sldLayoutId id="2147483796" r:id="rId21"/>
    <p:sldLayoutId id="2147483820" r:id="rId22"/>
    <p:sldLayoutId id="2147483830" r:id="rId23"/>
    <p:sldLayoutId id="2147483833" r:id="rId24"/>
    <p:sldLayoutId id="2147483842" r:id="rId25"/>
    <p:sldLayoutId id="2147483799" r:id="rId26"/>
    <p:sldLayoutId id="2147483800" r:id="rId27"/>
    <p:sldLayoutId id="2147483801" r:id="rId28"/>
    <p:sldLayoutId id="2147483802" r:id="rId29"/>
    <p:sldLayoutId id="2147483841" r:id="rId30"/>
    <p:sldLayoutId id="2147483851" r:id="rId31"/>
    <p:sldLayoutId id="2147483803" r:id="rId32"/>
    <p:sldLayoutId id="2147483831" r:id="rId33"/>
    <p:sldLayoutId id="2147483829" r:id="rId34"/>
    <p:sldLayoutId id="2147483806" r:id="rId35"/>
    <p:sldLayoutId id="2147483848" r:id="rId36"/>
    <p:sldLayoutId id="2147483840" r:id="rId37"/>
    <p:sldLayoutId id="2147483852" r:id="rId38"/>
    <p:sldLayoutId id="2147483812" r:id="rId39"/>
    <p:sldLayoutId id="2147483844" r:id="rId40"/>
    <p:sldLayoutId id="2147483813" r:id="rId41"/>
    <p:sldLayoutId id="2147483891" r:id="rId42"/>
    <p:sldLayoutId id="2147483892" r:id="rId43"/>
  </p:sldLayoutIdLst>
  <p:hf hdr="0" ftr="0" dt="0"/>
  <p:txStyles>
    <p:titleStyle>
      <a:lvl1pPr algn="l" rtl="0" eaLnBrk="1" fontAlgn="base" hangingPunct="1">
        <a:lnSpc>
          <a:spcPct val="100000"/>
        </a:lnSpc>
        <a:spcBef>
          <a:spcPct val="0"/>
        </a:spcBef>
        <a:spcAft>
          <a:spcPct val="0"/>
        </a:spcAft>
        <a:defRPr sz="2700">
          <a:solidFill>
            <a:schemeClr val="tx2"/>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00000"/>
        </a:lnSpc>
        <a:spcBef>
          <a:spcPct val="0"/>
        </a:spcBef>
        <a:spcAft>
          <a:spcPct val="0"/>
        </a:spcAft>
        <a:buClrTx/>
        <a:buFont typeface="Arial" pitchFamily="34" charset="0"/>
        <a:buNone/>
        <a:defRPr sz="1800">
          <a:solidFill>
            <a:schemeClr val="tx1"/>
          </a:solidFill>
          <a:latin typeface="+mn-lt"/>
          <a:ea typeface="+mn-ea"/>
          <a:cs typeface="+mn-cs"/>
        </a:defRPr>
      </a:lvl1pPr>
      <a:lvl2pPr marL="179388"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2pPr>
      <a:lvl3pPr marL="358775"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3pPr>
      <a:lvl4pPr marL="534988" indent="-174625"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4pPr>
      <a:lvl5pPr marL="714375"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19" userDrawn="1">
          <p15:clr>
            <a:srgbClr val="F26B43"/>
          </p15:clr>
        </p15:guide>
        <p15:guide id="3" pos="7559" userDrawn="1">
          <p15:clr>
            <a:srgbClr val="F26B43"/>
          </p15:clr>
        </p15:guide>
        <p15:guide id="8" pos="121" userDrawn="1">
          <p15:clr>
            <a:srgbClr val="F26B43"/>
          </p15:clr>
        </p15:guide>
        <p15:guide id="12" pos="3783" userDrawn="1">
          <p15:clr>
            <a:srgbClr val="F26B43"/>
          </p15:clr>
        </p15:guide>
        <p15:guide id="13" pos="3896" userDrawn="1">
          <p15:clr>
            <a:srgbClr val="F26B43"/>
          </p15:clr>
        </p15:guide>
        <p15:guide id="16" pos="7446" userDrawn="1">
          <p15:clr>
            <a:srgbClr val="F26B43"/>
          </p15:clr>
        </p15:guide>
        <p15:guide id="18" orient="horz" pos="4201" userDrawn="1">
          <p15:clr>
            <a:srgbClr val="F26B43"/>
          </p15:clr>
        </p15:guide>
        <p15:guide id="20" pos="234" userDrawn="1">
          <p15:clr>
            <a:srgbClr val="F26B43"/>
          </p15:clr>
        </p15:guide>
        <p15:guide id="21" orient="horz" pos="232" userDrawn="1">
          <p15:clr>
            <a:srgbClr val="F26B43"/>
          </p15:clr>
        </p15:guide>
        <p15:guide id="22" orient="horz" pos="1094" userDrawn="1">
          <p15:clr>
            <a:srgbClr val="F26B43"/>
          </p15:clr>
        </p15:guide>
        <p15:guide id="23" orient="horz" pos="3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9"/>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3" imgW="270" imgH="270" progId="TCLayout.ActiveDocument.1">
                  <p:embed/>
                </p:oleObj>
              </mc:Choice>
              <mc:Fallback>
                <p:oleObj name="think-cell Folie" r:id="rId43" imgW="270" imgH="270" progId="TCLayout.ActiveDocument.1">
                  <p:embed/>
                  <p:pic>
                    <p:nvPicPr>
                      <p:cNvPr id="2" name="Objekt 1"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4099" name="Rectangle 3"/>
          <p:cNvSpPr>
            <a:spLocks noGrp="1" noChangeArrowheads="1"/>
          </p:cNvSpPr>
          <p:nvPr>
            <p:ph type="title"/>
            <p:custDataLst>
              <p:tags r:id="rId40"/>
            </p:custDataLst>
          </p:nvPr>
        </p:nvSpPr>
        <p:spPr bwMode="auto">
          <a:xfrm>
            <a:off x="196982" y="188913"/>
            <a:ext cx="7356343" cy="2025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pPr lvl="0"/>
            <a:r>
              <a:rPr lang="de-AT" noProof="0" dirty="0"/>
              <a:t>Titel setzen wir in Georgia</a:t>
            </a:r>
            <a:br>
              <a:rPr lang="de-AT" noProof="0" dirty="0"/>
            </a:br>
            <a:r>
              <a:rPr lang="de-AT" noProof="0" dirty="0"/>
              <a:t>idealerweise in 27 Punkt.</a:t>
            </a:r>
            <a:br>
              <a:rPr lang="de-AT" noProof="0" dirty="0"/>
            </a:br>
            <a:r>
              <a:rPr lang="de-AT" noProof="0" dirty="0"/>
              <a:t>Bevorzugt in Verbund-Blau</a:t>
            </a:r>
            <a:br>
              <a:rPr lang="de-AT" noProof="0" dirty="0"/>
            </a:br>
            <a:r>
              <a:rPr lang="de-AT" noProof="0" dirty="0"/>
              <a:t>oder weiß</a:t>
            </a:r>
          </a:p>
        </p:txBody>
      </p:sp>
      <p:sp>
        <p:nvSpPr>
          <p:cNvPr id="4100" name="Rectangle 4"/>
          <p:cNvSpPr>
            <a:spLocks noGrp="1" noChangeArrowheads="1"/>
          </p:cNvSpPr>
          <p:nvPr>
            <p:ph type="body" idx="1"/>
            <p:custDataLst>
              <p:tags r:id="rId41"/>
            </p:custDataLst>
          </p:nvPr>
        </p:nvSpPr>
        <p:spPr bwMode="auto">
          <a:xfrm>
            <a:off x="196982" y="3719131"/>
            <a:ext cx="5808531" cy="1748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180000" tIns="126000" rIns="180000" bIns="18000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4102" name="Rectangle 6"/>
          <p:cNvSpPr>
            <a:spLocks noGrp="1" noChangeArrowheads="1"/>
          </p:cNvSpPr>
          <p:nvPr>
            <p:ph type="sldNum" sz="quarter" idx="4"/>
            <p:custDataLst>
              <p:tags r:id="rId42"/>
            </p:custDataLst>
          </p:nvPr>
        </p:nvSpPr>
        <p:spPr bwMode="auto">
          <a:xfrm>
            <a:off x="9114656" y="6365922"/>
            <a:ext cx="2705869" cy="12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b" anchorCtr="0" compatLnSpc="1">
            <a:prstTxWarp prst="textNoShape">
              <a:avLst/>
            </a:prstTxWarp>
            <a:spAutoFit/>
          </a:bodyPr>
          <a:lstStyle>
            <a:lvl1pPr algn="l">
              <a:lnSpc>
                <a:spcPct val="100000"/>
              </a:lnSpc>
              <a:defRPr sz="800">
                <a:solidFill>
                  <a:schemeClr val="tx2"/>
                </a:solidFill>
              </a:defRPr>
            </a:lvl1pPr>
          </a:lstStyle>
          <a:p>
            <a:pPr algn="r" eaLnBrk="0" fontAlgn="base" hangingPunct="0">
              <a:spcBef>
                <a:spcPct val="0"/>
              </a:spcBef>
              <a:spcAft>
                <a:spcPct val="0"/>
              </a:spcAft>
            </a:pPr>
            <a:r>
              <a:rPr lang="de-AT" dirty="0"/>
              <a:t>VERBUND – Unternehmenspräsentation 2022 – Seit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79478939"/>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 id="2147483879" r:id="rId26"/>
    <p:sldLayoutId id="2147483880" r:id="rId27"/>
    <p:sldLayoutId id="2147483881" r:id="rId28"/>
    <p:sldLayoutId id="2147483882" r:id="rId29"/>
    <p:sldLayoutId id="2147483883" r:id="rId30"/>
    <p:sldLayoutId id="2147483884" r:id="rId31"/>
    <p:sldLayoutId id="2147483885" r:id="rId32"/>
    <p:sldLayoutId id="2147483886" r:id="rId33"/>
    <p:sldLayoutId id="2147483887" r:id="rId34"/>
    <p:sldLayoutId id="2147483888" r:id="rId35"/>
    <p:sldLayoutId id="2147483889" r:id="rId36"/>
    <p:sldLayoutId id="2147483890" r:id="rId37"/>
  </p:sldLayoutIdLst>
  <p:hf hdr="0" ftr="0" dt="0"/>
  <p:txStyles>
    <p:titleStyle>
      <a:lvl1pPr algn="l" rtl="0" eaLnBrk="1" fontAlgn="base" hangingPunct="1">
        <a:lnSpc>
          <a:spcPct val="100000"/>
        </a:lnSpc>
        <a:spcBef>
          <a:spcPct val="0"/>
        </a:spcBef>
        <a:spcAft>
          <a:spcPct val="0"/>
        </a:spcAft>
        <a:defRPr sz="2700">
          <a:solidFill>
            <a:schemeClr val="tx2"/>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00000"/>
        </a:lnSpc>
        <a:spcBef>
          <a:spcPct val="0"/>
        </a:spcBef>
        <a:spcAft>
          <a:spcPct val="0"/>
        </a:spcAft>
        <a:buClrTx/>
        <a:buFont typeface="Arial" pitchFamily="34" charset="0"/>
        <a:buNone/>
        <a:defRPr sz="1800">
          <a:solidFill>
            <a:schemeClr val="tx1"/>
          </a:solidFill>
          <a:latin typeface="+mn-lt"/>
          <a:ea typeface="+mn-ea"/>
          <a:cs typeface="+mn-cs"/>
        </a:defRPr>
      </a:lvl1pPr>
      <a:lvl2pPr marL="179388"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2pPr>
      <a:lvl3pPr marL="358775"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3pPr>
      <a:lvl4pPr marL="534988" indent="-174625"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4pPr>
      <a:lvl5pPr marL="714375"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19">
          <p15:clr>
            <a:srgbClr val="F26B43"/>
          </p15:clr>
        </p15:guide>
        <p15:guide id="3" pos="7559">
          <p15:clr>
            <a:srgbClr val="F26B43"/>
          </p15:clr>
        </p15:guide>
        <p15:guide id="8" pos="121">
          <p15:clr>
            <a:srgbClr val="F26B43"/>
          </p15:clr>
        </p15:guide>
        <p15:guide id="12" pos="3783">
          <p15:clr>
            <a:srgbClr val="F26B43"/>
          </p15:clr>
        </p15:guide>
        <p15:guide id="13" pos="3896">
          <p15:clr>
            <a:srgbClr val="F26B43"/>
          </p15:clr>
        </p15:guide>
        <p15:guide id="16" pos="7446">
          <p15:clr>
            <a:srgbClr val="F26B43"/>
          </p15:clr>
        </p15:guide>
        <p15:guide id="18" orient="horz" pos="4201">
          <p15:clr>
            <a:srgbClr val="F26B43"/>
          </p15:clr>
        </p15:guide>
        <p15:guide id="20" pos="234">
          <p15:clr>
            <a:srgbClr val="F26B43"/>
          </p15:clr>
        </p15:guide>
        <p15:guide id="21" orient="horz" pos="2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1" imgW="270" imgH="270" progId="TCLayout.ActiveDocument.1">
                  <p:embed/>
                </p:oleObj>
              </mc:Choice>
              <mc:Fallback>
                <p:oleObj name="think-cell Folie" r:id="rId11" imgW="270" imgH="270" progId="TCLayout.ActiveDocument.1">
                  <p:embed/>
                  <p:pic>
                    <p:nvPicPr>
                      <p:cNvPr id="2" name="Objekt 1" hidden="1"/>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4099" name="Rectangle 3"/>
          <p:cNvSpPr>
            <a:spLocks noGrp="1" noChangeArrowheads="1"/>
          </p:cNvSpPr>
          <p:nvPr>
            <p:ph type="title"/>
            <p:custDataLst>
              <p:tags r:id="rId8"/>
            </p:custDataLst>
          </p:nvPr>
        </p:nvSpPr>
        <p:spPr bwMode="auto">
          <a:xfrm>
            <a:off x="196982" y="188913"/>
            <a:ext cx="7356343" cy="2025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pPr lvl="0"/>
            <a:r>
              <a:rPr lang="de-AT" noProof="0" dirty="0"/>
              <a:t>Titel setzen wir in Georgia</a:t>
            </a:r>
            <a:br>
              <a:rPr lang="de-AT" noProof="0" dirty="0"/>
            </a:br>
            <a:r>
              <a:rPr lang="de-AT" noProof="0" dirty="0"/>
              <a:t>idealerweise in 27 Punkt.</a:t>
            </a:r>
            <a:br>
              <a:rPr lang="de-AT" noProof="0" dirty="0"/>
            </a:br>
            <a:r>
              <a:rPr lang="de-AT" noProof="0" dirty="0"/>
              <a:t>Bevorzugt in Verbund-Blau</a:t>
            </a:r>
            <a:br>
              <a:rPr lang="de-AT" noProof="0" dirty="0"/>
            </a:br>
            <a:r>
              <a:rPr lang="de-AT" noProof="0" dirty="0"/>
              <a:t>oder weiß</a:t>
            </a:r>
          </a:p>
        </p:txBody>
      </p:sp>
      <p:sp>
        <p:nvSpPr>
          <p:cNvPr id="4100" name="Rectangle 4"/>
          <p:cNvSpPr>
            <a:spLocks noGrp="1" noChangeArrowheads="1"/>
          </p:cNvSpPr>
          <p:nvPr>
            <p:ph type="body" idx="1"/>
            <p:custDataLst>
              <p:tags r:id="rId9"/>
            </p:custDataLst>
          </p:nvPr>
        </p:nvSpPr>
        <p:spPr bwMode="auto">
          <a:xfrm>
            <a:off x="196982" y="3719131"/>
            <a:ext cx="5808531" cy="1748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180000" tIns="126000" rIns="180000" bIns="18000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p:txBody>
      </p:sp>
      <p:sp>
        <p:nvSpPr>
          <p:cNvPr id="4102" name="Rectangle 6"/>
          <p:cNvSpPr>
            <a:spLocks noGrp="1" noChangeArrowheads="1"/>
          </p:cNvSpPr>
          <p:nvPr>
            <p:ph type="sldNum" sz="quarter" idx="4"/>
            <p:custDataLst>
              <p:tags r:id="rId10"/>
            </p:custDataLst>
          </p:nvPr>
        </p:nvSpPr>
        <p:spPr bwMode="auto">
          <a:xfrm>
            <a:off x="9557084" y="6365922"/>
            <a:ext cx="2263441" cy="12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b" anchorCtr="0" compatLnSpc="1">
            <a:prstTxWarp prst="textNoShape">
              <a:avLst/>
            </a:prstTxWarp>
            <a:spAutoFit/>
          </a:bodyPr>
          <a:lstStyle>
            <a:lvl1pPr algn="l">
              <a:lnSpc>
                <a:spcPct val="100000"/>
              </a:lnSpc>
              <a:defRPr sz="800">
                <a:solidFill>
                  <a:schemeClr val="tx2"/>
                </a:solidFill>
              </a:defRPr>
            </a:lvl1pPr>
          </a:lstStyle>
          <a:p>
            <a:pPr algn="r" eaLnBrk="0" fontAlgn="base" hangingPunct="0">
              <a:spcBef>
                <a:spcPct val="0"/>
              </a:spcBef>
              <a:spcAft>
                <a:spcPct val="0"/>
              </a:spcAft>
            </a:pPr>
            <a:r>
              <a:rPr lang="de-AT" dirty="0"/>
              <a:t>VERBUND – Corporate Report 2022 – Page </a:t>
            </a:r>
            <a:fld id="{56C9A048-A28E-493E-A30E-F5A55EC874C9}" type="slidenum">
              <a:rPr lang="de-AT" smtClean="0"/>
              <a:pPr algn="r" eaLnBrk="0" fontAlgn="base" hangingPunct="0">
                <a:spcBef>
                  <a:spcPct val="0"/>
                </a:spcBef>
                <a:spcAft>
                  <a:spcPct val="0"/>
                </a:spcAft>
              </a:pPr>
              <a:t>‹Nr.›</a:t>
            </a:fld>
            <a:endParaRPr lang="de-AT" dirty="0"/>
          </a:p>
        </p:txBody>
      </p:sp>
    </p:spTree>
    <p:extLst>
      <p:ext uri="{BB962C8B-B14F-4D97-AF65-F5344CB8AC3E}">
        <p14:creationId xmlns:p14="http://schemas.microsoft.com/office/powerpoint/2010/main" val="468795610"/>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Lst>
  <p:hf hdr="0" ftr="0" dt="0"/>
  <p:txStyles>
    <p:titleStyle>
      <a:lvl1pPr algn="l" rtl="0" eaLnBrk="1" fontAlgn="base" hangingPunct="1">
        <a:lnSpc>
          <a:spcPct val="100000"/>
        </a:lnSpc>
        <a:spcBef>
          <a:spcPct val="0"/>
        </a:spcBef>
        <a:spcAft>
          <a:spcPct val="0"/>
        </a:spcAft>
        <a:defRPr sz="2700">
          <a:solidFill>
            <a:schemeClr val="tx2"/>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00000"/>
        </a:lnSpc>
        <a:spcBef>
          <a:spcPct val="0"/>
        </a:spcBef>
        <a:spcAft>
          <a:spcPct val="0"/>
        </a:spcAft>
        <a:buClrTx/>
        <a:buFont typeface="Arial" pitchFamily="34" charset="0"/>
        <a:buNone/>
        <a:defRPr sz="1800">
          <a:solidFill>
            <a:schemeClr val="tx1"/>
          </a:solidFill>
          <a:latin typeface="+mn-lt"/>
          <a:ea typeface="+mn-ea"/>
          <a:cs typeface="+mn-cs"/>
        </a:defRPr>
      </a:lvl1pPr>
      <a:lvl2pPr marL="179388"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2pPr>
      <a:lvl3pPr marL="358775"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3pPr>
      <a:lvl4pPr marL="534988" indent="-174625"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4pPr>
      <a:lvl5pPr marL="714375"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119">
          <p15:clr>
            <a:srgbClr val="F26B43"/>
          </p15:clr>
        </p15:guide>
        <p15:guide id="3" pos="7559">
          <p15:clr>
            <a:srgbClr val="F26B43"/>
          </p15:clr>
        </p15:guide>
        <p15:guide id="8" pos="121">
          <p15:clr>
            <a:srgbClr val="F26B43"/>
          </p15:clr>
        </p15:guide>
        <p15:guide id="12" pos="3783">
          <p15:clr>
            <a:srgbClr val="F26B43"/>
          </p15:clr>
        </p15:guide>
        <p15:guide id="13" pos="3896">
          <p15:clr>
            <a:srgbClr val="F26B43"/>
          </p15:clr>
        </p15:guide>
        <p15:guide id="16" pos="7446">
          <p15:clr>
            <a:srgbClr val="F26B43"/>
          </p15:clr>
        </p15:guide>
        <p15:guide id="18" orient="horz" pos="4201">
          <p15:clr>
            <a:srgbClr val="F26B43"/>
          </p15:clr>
        </p15:guide>
        <p15:guide id="20" pos="234">
          <p15:clr>
            <a:srgbClr val="F26B43"/>
          </p15:clr>
        </p15:guide>
        <p15:guide id="21" orient="horz" pos="2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7"/>
            </p:custDataLst>
            <p:extLst>
              <p:ext uri="{D42A27DB-BD31-4B8C-83A1-F6EECF244321}">
                <p14:modId xmlns:p14="http://schemas.microsoft.com/office/powerpoint/2010/main" val="16268089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11" imgW="270" imgH="270" progId="TCLayout.ActiveDocument.1">
                  <p:embed/>
                </p:oleObj>
              </mc:Choice>
              <mc:Fallback>
                <p:oleObj name="think-cell Folie" r:id="rId11" imgW="270" imgH="270" progId="TCLayout.ActiveDocument.1">
                  <p:embed/>
                  <p:pic>
                    <p:nvPicPr>
                      <p:cNvPr id="2" name="Objekt 1" hidden="1"/>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4099" name="Rectangle 3"/>
          <p:cNvSpPr>
            <a:spLocks noGrp="1" noChangeArrowheads="1"/>
          </p:cNvSpPr>
          <p:nvPr>
            <p:ph type="title"/>
            <p:custDataLst>
              <p:tags r:id="rId8"/>
            </p:custDataLst>
          </p:nvPr>
        </p:nvSpPr>
        <p:spPr bwMode="auto">
          <a:xfrm>
            <a:off x="376982" y="300465"/>
            <a:ext cx="9662368" cy="8309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Titel setzen wir in Georgia idealerweise in 27 Punkt.</a:t>
            </a:r>
            <a:br>
              <a:rPr lang="de-AT" noProof="0" dirty="0"/>
            </a:br>
            <a:r>
              <a:rPr lang="de-AT" noProof="0" dirty="0"/>
              <a:t>Bevorzugt in Verbund-Blau oder weiß</a:t>
            </a:r>
          </a:p>
        </p:txBody>
      </p:sp>
      <p:sp>
        <p:nvSpPr>
          <p:cNvPr id="4100" name="Rectangle 4"/>
          <p:cNvSpPr>
            <a:spLocks noGrp="1" noChangeArrowheads="1"/>
          </p:cNvSpPr>
          <p:nvPr>
            <p:ph type="body" idx="1"/>
            <p:custDataLst>
              <p:tags r:id="rId9"/>
            </p:custDataLst>
          </p:nvPr>
        </p:nvSpPr>
        <p:spPr bwMode="auto">
          <a:xfrm>
            <a:off x="376981" y="1523586"/>
            <a:ext cx="9662369" cy="1434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de-AT" noProof="0" dirty="0"/>
              <a:t>Mastertextformat bearbeiten</a:t>
            </a:r>
          </a:p>
          <a:p>
            <a:pPr lvl="1"/>
            <a:r>
              <a:rPr lang="de-AT" noProof="0" dirty="0"/>
              <a:t>Zweite Ebene</a:t>
            </a:r>
          </a:p>
          <a:p>
            <a:pPr lvl="2"/>
            <a:r>
              <a:rPr lang="de-AT" noProof="0" dirty="0"/>
              <a:t>Dritte Ebene</a:t>
            </a:r>
          </a:p>
          <a:p>
            <a:pPr lvl="3"/>
            <a:r>
              <a:rPr lang="de-AT" noProof="0" dirty="0"/>
              <a:t>Vierte Ebene</a:t>
            </a:r>
          </a:p>
          <a:p>
            <a:pPr lvl="4"/>
            <a:r>
              <a:rPr lang="de-AT" noProof="0" dirty="0"/>
              <a:t>Fünfte Ebene</a:t>
            </a:r>
          </a:p>
          <a:p>
            <a:pPr lvl="5"/>
            <a:r>
              <a:rPr lang="de-AT" noProof="0" dirty="0"/>
              <a:t>Sechste Ebene</a:t>
            </a:r>
          </a:p>
        </p:txBody>
      </p:sp>
      <p:sp>
        <p:nvSpPr>
          <p:cNvPr id="4102" name="Rectangle 6"/>
          <p:cNvSpPr>
            <a:spLocks noGrp="1" noChangeArrowheads="1"/>
          </p:cNvSpPr>
          <p:nvPr>
            <p:ph type="sldNum" sz="quarter" idx="4"/>
            <p:custDataLst>
              <p:tags r:id="rId10"/>
            </p:custDataLst>
          </p:nvPr>
        </p:nvSpPr>
        <p:spPr bwMode="auto">
          <a:xfrm>
            <a:off x="11352448" y="6387351"/>
            <a:ext cx="468077" cy="12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ctr" anchorCtr="0" compatLnSpc="1">
            <a:prstTxWarp prst="textNoShape">
              <a:avLst/>
            </a:prstTxWarp>
            <a:spAutoFit/>
          </a:bodyPr>
          <a:lstStyle>
            <a:lvl1pPr algn="l">
              <a:lnSpc>
                <a:spcPct val="100000"/>
              </a:lnSpc>
              <a:defRPr sz="800">
                <a:solidFill>
                  <a:schemeClr val="tx2"/>
                </a:solidFill>
              </a:defRPr>
            </a:lvl1pPr>
          </a:lstStyle>
          <a:p>
            <a:pPr algn="r" eaLnBrk="0" fontAlgn="base" hangingPunct="0">
              <a:spcBef>
                <a:spcPct val="0"/>
              </a:spcBef>
              <a:spcAft>
                <a:spcPct val="0"/>
              </a:spcAft>
            </a:pPr>
            <a:r>
              <a:rPr lang="de-AT" dirty="0"/>
              <a:t>Seite </a:t>
            </a:r>
            <a:fld id="{56C9A048-A28E-493E-A30E-F5A55EC874C9}" type="slidenum">
              <a:rPr lang="de-AT" smtClean="0"/>
              <a:pPr algn="r" eaLnBrk="0" fontAlgn="base" hangingPunct="0">
                <a:spcBef>
                  <a:spcPct val="0"/>
                </a:spcBef>
                <a:spcAft>
                  <a:spcPct val="0"/>
                </a:spcAft>
              </a:pPr>
              <a:t>‹Nr.›</a:t>
            </a:fld>
            <a:endParaRPr lang="de-AT" dirty="0"/>
          </a:p>
        </p:txBody>
      </p:sp>
      <p:sp>
        <p:nvSpPr>
          <p:cNvPr id="20" name="Fußzeilenplatzhalter 19">
            <a:extLst>
              <a:ext uri="{FF2B5EF4-FFF2-40B4-BE49-F238E27FC236}">
                <a16:creationId xmlns:a16="http://schemas.microsoft.com/office/drawing/2014/main" id="{D937C77B-A8D8-7787-FB3D-B8EE5F14B635}"/>
              </a:ext>
            </a:extLst>
          </p:cNvPr>
          <p:cNvSpPr>
            <a:spLocks noGrp="1"/>
          </p:cNvSpPr>
          <p:nvPr userDrawn="1">
            <p:ph type="ftr" sz="quarter" idx="3"/>
          </p:nvPr>
        </p:nvSpPr>
        <p:spPr>
          <a:xfrm>
            <a:off x="6368815" y="6387351"/>
            <a:ext cx="4868216" cy="123111"/>
          </a:xfrm>
          <a:prstGeom prst="rect">
            <a:avLst/>
          </a:prstGeom>
        </p:spPr>
        <p:txBody>
          <a:bodyPr vert="horz" lIns="0" tIns="0" rIns="0" bIns="0" rtlCol="0" anchor="ctr">
            <a:spAutoFit/>
          </a:bodyPr>
          <a:lstStyle>
            <a:lvl1pPr algn="r">
              <a:defRPr sz="800">
                <a:solidFill>
                  <a:schemeClr val="tx2"/>
                </a:solidFill>
              </a:defRPr>
            </a:lvl1pPr>
          </a:lstStyle>
          <a:p>
            <a:r>
              <a:rPr lang="de-CH"/>
              <a:t>ECP / 17.10.2022</a:t>
            </a:r>
            <a:endParaRPr lang="de-CH" dirty="0"/>
          </a:p>
        </p:txBody>
      </p:sp>
    </p:spTree>
    <p:extLst>
      <p:ext uri="{BB962C8B-B14F-4D97-AF65-F5344CB8AC3E}">
        <p14:creationId xmlns:p14="http://schemas.microsoft.com/office/powerpoint/2010/main" val="2826985560"/>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Lst>
  <p:hf hdr="0" dt="0"/>
  <p:txStyles>
    <p:titleStyle>
      <a:lvl1pPr algn="l" rtl="0" eaLnBrk="1" fontAlgn="base" hangingPunct="1">
        <a:lnSpc>
          <a:spcPct val="100000"/>
        </a:lnSpc>
        <a:spcBef>
          <a:spcPct val="0"/>
        </a:spcBef>
        <a:spcAft>
          <a:spcPct val="0"/>
        </a:spcAft>
        <a:defRPr sz="2700">
          <a:solidFill>
            <a:schemeClr val="tx2"/>
          </a:solidFill>
          <a:latin typeface="+mj-lt"/>
          <a:ea typeface="+mj-ea"/>
          <a:cs typeface="+mj-cs"/>
        </a:defRPr>
      </a:lvl1pPr>
      <a:lvl2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2pPr>
      <a:lvl3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3pPr>
      <a:lvl4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4pPr>
      <a:lvl5pPr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5pPr>
      <a:lvl6pPr marL="4572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6pPr>
      <a:lvl7pPr marL="9144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7pPr>
      <a:lvl8pPr marL="13716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8pPr>
      <a:lvl9pPr marL="1828800" algn="l" rtl="0" eaLnBrk="1" fontAlgn="base" hangingPunct="1">
        <a:lnSpc>
          <a:spcPts val="2200"/>
        </a:lnSpc>
        <a:spcBef>
          <a:spcPct val="0"/>
        </a:spcBef>
        <a:spcAft>
          <a:spcPct val="0"/>
        </a:spcAft>
        <a:defRPr sz="2200">
          <a:solidFill>
            <a:schemeClr val="tx1"/>
          </a:solidFill>
          <a:latin typeface="Arial" charset="0"/>
          <a:ea typeface="MS PGothic" pitchFamily="34" charset="-128"/>
        </a:defRPr>
      </a:lvl9pPr>
    </p:titleStyle>
    <p:bodyStyle>
      <a:lvl1pPr marL="0" indent="0" algn="l" rtl="0" eaLnBrk="1" fontAlgn="base" hangingPunct="1">
        <a:lnSpc>
          <a:spcPct val="100000"/>
        </a:lnSpc>
        <a:spcBef>
          <a:spcPct val="0"/>
        </a:spcBef>
        <a:spcAft>
          <a:spcPct val="0"/>
        </a:spcAft>
        <a:buClrTx/>
        <a:buFont typeface="Arial" pitchFamily="34" charset="0"/>
        <a:buNone/>
        <a:defRPr sz="1800">
          <a:solidFill>
            <a:schemeClr val="tx1"/>
          </a:solidFill>
          <a:latin typeface="+mn-lt"/>
          <a:ea typeface="+mn-ea"/>
          <a:cs typeface="+mn-cs"/>
        </a:defRPr>
      </a:lvl1pPr>
      <a:lvl2pPr marL="179388"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2pPr>
      <a:lvl3pPr marL="358775" indent="-177800" algn="l" rtl="0" eaLnBrk="1" fontAlgn="base" hangingPunct="1">
        <a:lnSpc>
          <a:spcPct val="100000"/>
        </a:lnSpc>
        <a:spcBef>
          <a:spcPct val="0"/>
        </a:spcBef>
        <a:spcAft>
          <a:spcPct val="0"/>
        </a:spcAft>
        <a:buClrTx/>
        <a:buFont typeface="Calibri" panose="020F0502020204030204" pitchFamily="34" charset="0"/>
        <a:buChar char="‒"/>
        <a:defRPr sz="1800">
          <a:solidFill>
            <a:schemeClr val="tx1"/>
          </a:solidFill>
          <a:latin typeface="+mn-lt"/>
          <a:ea typeface="+mn-ea"/>
        </a:defRPr>
      </a:lvl3pPr>
      <a:lvl4pPr marL="6350" indent="0" algn="l" rtl="0" eaLnBrk="1" fontAlgn="base" hangingPunct="1">
        <a:lnSpc>
          <a:spcPct val="100000"/>
        </a:lnSpc>
        <a:spcBef>
          <a:spcPct val="0"/>
        </a:spcBef>
        <a:spcAft>
          <a:spcPct val="0"/>
        </a:spcAft>
        <a:buClrTx/>
        <a:buFontTx/>
        <a:buNone/>
        <a:defRPr sz="1300">
          <a:solidFill>
            <a:schemeClr val="tx1"/>
          </a:solidFill>
          <a:latin typeface="+mn-lt"/>
          <a:ea typeface="+mn-ea"/>
        </a:defRPr>
      </a:lvl4pPr>
      <a:lvl5pPr marL="180975" indent="-177800" algn="l" rtl="0" eaLnBrk="1" fontAlgn="base" hangingPunct="1">
        <a:lnSpc>
          <a:spcPct val="100000"/>
        </a:lnSpc>
        <a:spcBef>
          <a:spcPct val="0"/>
        </a:spcBef>
        <a:spcAft>
          <a:spcPct val="0"/>
        </a:spcAft>
        <a:buClrTx/>
        <a:buFont typeface="Calibri" panose="020F0502020204030204" pitchFamily="34" charset="0"/>
        <a:buChar char="‒"/>
        <a:defRPr sz="1300">
          <a:solidFill>
            <a:schemeClr val="tx1"/>
          </a:solidFill>
          <a:latin typeface="+mn-lt"/>
          <a:ea typeface="+mn-ea"/>
        </a:defRPr>
      </a:lvl5pPr>
      <a:lvl6pPr marL="361950" indent="-180975" algn="l" rtl="0" eaLnBrk="1" fontAlgn="base" hangingPunct="1">
        <a:lnSpc>
          <a:spcPct val="110000"/>
        </a:lnSpc>
        <a:spcBef>
          <a:spcPct val="0"/>
        </a:spcBef>
        <a:spcAft>
          <a:spcPct val="0"/>
        </a:spcAft>
        <a:buFont typeface="Calibri" panose="020F0502020204030204" pitchFamily="34" charset="0"/>
        <a:buChar char="‒"/>
        <a:defRPr sz="13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559">
          <p15:clr>
            <a:srgbClr val="F26B43"/>
          </p15:clr>
        </p15:guide>
        <p15:guide id="16" pos="7446">
          <p15:clr>
            <a:srgbClr val="F26B43"/>
          </p15:clr>
        </p15:guide>
        <p15:guide id="18" orient="horz" pos="4201">
          <p15:clr>
            <a:srgbClr val="F26B43"/>
          </p15:clr>
        </p15:guide>
        <p15:guide id="20" pos="234">
          <p15:clr>
            <a:srgbClr val="F26B43"/>
          </p15:clr>
        </p15:guide>
        <p15:guide id="21" orient="horz" pos="232">
          <p15:clr>
            <a:srgbClr val="F26B43"/>
          </p15:clr>
        </p15:guide>
        <p15:guide id="22" pos="121">
          <p15:clr>
            <a:srgbClr val="F26B43"/>
          </p15:clr>
        </p15:guide>
        <p15:guide id="23" orient="horz" pos="119">
          <p15:clr>
            <a:srgbClr val="F26B43"/>
          </p15:clr>
        </p15:guide>
        <p15:guide id="24" orient="horz" pos="4088">
          <p15:clr>
            <a:srgbClr val="F26B43"/>
          </p15:clr>
        </p15:guide>
        <p15:guide id="25" orient="horz" pos="38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29.x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95.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178.xml"/><Relationship Id="rId1" Type="http://schemas.openxmlformats.org/officeDocument/2006/relationships/themeOverride" Target="../theme/themeOverride2.xml"/><Relationship Id="rId6" Type="http://schemas.openxmlformats.org/officeDocument/2006/relationships/image" Target="../media/image57.png"/><Relationship Id="rId5" Type="http://schemas.openxmlformats.org/officeDocument/2006/relationships/image" Target="../media/image49.emf"/><Relationship Id="rId4" Type="http://schemas.openxmlformats.org/officeDocument/2006/relationships/oleObject" Target="../embeddings/oleObject99.bin"/></Relationships>
</file>

<file path=ppt/slides/_rels/slide11.xml.rels><?xml version="1.0" encoding="UTF-8" standalone="yes"?>
<Relationships xmlns="http://schemas.openxmlformats.org/package/2006/relationships"><Relationship Id="rId8" Type="http://schemas.openxmlformats.org/officeDocument/2006/relationships/image" Target="../media/image60.jpeg"/><Relationship Id="rId13" Type="http://schemas.openxmlformats.org/officeDocument/2006/relationships/image" Target="../media/image65.jpeg"/><Relationship Id="rId3" Type="http://schemas.openxmlformats.org/officeDocument/2006/relationships/slideLayout" Target="../slideLayouts/slideLayout48.xml"/><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tags" Target="../tags/tag179.xml"/><Relationship Id="rId1" Type="http://schemas.openxmlformats.org/officeDocument/2006/relationships/themeOverride" Target="../theme/themeOverride3.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49.emf"/><Relationship Id="rId10" Type="http://schemas.openxmlformats.org/officeDocument/2006/relationships/image" Target="../media/image62.jpeg"/><Relationship Id="rId4" Type="http://schemas.openxmlformats.org/officeDocument/2006/relationships/oleObject" Target="../embeddings/oleObject100.bin"/><Relationship Id="rId9" Type="http://schemas.openxmlformats.org/officeDocument/2006/relationships/image" Target="../media/image61.jpe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48.xml"/><Relationship Id="rId1" Type="http://schemas.openxmlformats.org/officeDocument/2006/relationships/tags" Target="../tags/tag180.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49.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1.xml"/><Relationship Id="rId1" Type="http://schemas.openxmlformats.org/officeDocument/2006/relationships/tags" Target="../tags/tag181.xml"/><Relationship Id="rId6" Type="http://schemas.openxmlformats.org/officeDocument/2006/relationships/image" Target="../media/image68.jpeg"/><Relationship Id="rId5" Type="http://schemas.openxmlformats.org/officeDocument/2006/relationships/image" Target="../media/image19.emf"/><Relationship Id="rId4" Type="http://schemas.openxmlformats.org/officeDocument/2006/relationships/oleObject" Target="../embeddings/oleObject101.bin"/></Relationships>
</file>

<file path=ppt/slides/_rels/slide2.xml.rels><?xml version="1.0" encoding="UTF-8" standalone="yes"?>
<Relationships xmlns="http://schemas.openxmlformats.org/package/2006/relationships"><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tags" Target="../tags/tag155.xml"/><Relationship Id="rId39" Type="http://schemas.openxmlformats.org/officeDocument/2006/relationships/tags" Target="../tags/tag168.xml"/><Relationship Id="rId21" Type="http://schemas.openxmlformats.org/officeDocument/2006/relationships/tags" Target="../tags/tag150.xml"/><Relationship Id="rId34" Type="http://schemas.openxmlformats.org/officeDocument/2006/relationships/tags" Target="../tags/tag163.xml"/><Relationship Id="rId42" Type="http://schemas.openxmlformats.org/officeDocument/2006/relationships/tags" Target="../tags/tag171.xml"/><Relationship Id="rId47" Type="http://schemas.openxmlformats.org/officeDocument/2006/relationships/slideLayout" Target="../slideLayouts/slideLayout49.xml"/><Relationship Id="rId50" Type="http://schemas.openxmlformats.org/officeDocument/2006/relationships/image" Target="../media/image21.png"/><Relationship Id="rId55" Type="http://schemas.openxmlformats.org/officeDocument/2006/relationships/image" Target="../media/image25.png"/><Relationship Id="rId7" Type="http://schemas.openxmlformats.org/officeDocument/2006/relationships/tags" Target="../tags/tag136.xml"/><Relationship Id="rId2" Type="http://schemas.openxmlformats.org/officeDocument/2006/relationships/tags" Target="../tags/tag131.xml"/><Relationship Id="rId16" Type="http://schemas.openxmlformats.org/officeDocument/2006/relationships/tags" Target="../tags/tag145.xml"/><Relationship Id="rId29" Type="http://schemas.openxmlformats.org/officeDocument/2006/relationships/tags" Target="../tags/tag158.xml"/><Relationship Id="rId11" Type="http://schemas.openxmlformats.org/officeDocument/2006/relationships/tags" Target="../tags/tag140.xml"/><Relationship Id="rId24" Type="http://schemas.openxmlformats.org/officeDocument/2006/relationships/tags" Target="../tags/tag153.xml"/><Relationship Id="rId32" Type="http://schemas.openxmlformats.org/officeDocument/2006/relationships/tags" Target="../tags/tag161.xml"/><Relationship Id="rId37" Type="http://schemas.openxmlformats.org/officeDocument/2006/relationships/tags" Target="../tags/tag166.xml"/><Relationship Id="rId40" Type="http://schemas.openxmlformats.org/officeDocument/2006/relationships/tags" Target="../tags/tag169.xml"/><Relationship Id="rId45" Type="http://schemas.openxmlformats.org/officeDocument/2006/relationships/tags" Target="../tags/tag174.xml"/><Relationship Id="rId53" Type="http://schemas.openxmlformats.org/officeDocument/2006/relationships/image" Target="../media/image23.png"/><Relationship Id="rId58" Type="http://schemas.openxmlformats.org/officeDocument/2006/relationships/image" Target="../media/image28.png"/><Relationship Id="rId5" Type="http://schemas.openxmlformats.org/officeDocument/2006/relationships/tags" Target="../tags/tag134.xml"/><Relationship Id="rId19" Type="http://schemas.openxmlformats.org/officeDocument/2006/relationships/tags" Target="../tags/tag148.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tags" Target="../tags/tag156.xml"/><Relationship Id="rId30" Type="http://schemas.openxmlformats.org/officeDocument/2006/relationships/tags" Target="../tags/tag159.xml"/><Relationship Id="rId35" Type="http://schemas.openxmlformats.org/officeDocument/2006/relationships/tags" Target="../tags/tag164.xml"/><Relationship Id="rId43" Type="http://schemas.openxmlformats.org/officeDocument/2006/relationships/tags" Target="../tags/tag172.xml"/><Relationship Id="rId48" Type="http://schemas.openxmlformats.org/officeDocument/2006/relationships/oleObject" Target="../embeddings/oleObject96.bin"/><Relationship Id="rId56" Type="http://schemas.openxmlformats.org/officeDocument/2006/relationships/image" Target="../media/image26.png"/><Relationship Id="rId8" Type="http://schemas.openxmlformats.org/officeDocument/2006/relationships/tags" Target="../tags/tag137.xml"/><Relationship Id="rId51" Type="http://schemas.openxmlformats.org/officeDocument/2006/relationships/chart" Target="../charts/chart1.xml"/><Relationship Id="rId3" Type="http://schemas.openxmlformats.org/officeDocument/2006/relationships/tags" Target="../tags/tag132.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tags" Target="../tags/tag154.xml"/><Relationship Id="rId33" Type="http://schemas.openxmlformats.org/officeDocument/2006/relationships/tags" Target="../tags/tag162.xml"/><Relationship Id="rId38" Type="http://schemas.openxmlformats.org/officeDocument/2006/relationships/tags" Target="../tags/tag167.xml"/><Relationship Id="rId46" Type="http://schemas.openxmlformats.org/officeDocument/2006/relationships/tags" Target="../tags/tag175.xml"/><Relationship Id="rId59" Type="http://schemas.openxmlformats.org/officeDocument/2006/relationships/image" Target="../media/image29.png"/><Relationship Id="rId20" Type="http://schemas.openxmlformats.org/officeDocument/2006/relationships/tags" Target="../tags/tag149.xml"/><Relationship Id="rId41" Type="http://schemas.openxmlformats.org/officeDocument/2006/relationships/tags" Target="../tags/tag170.xml"/><Relationship Id="rId54" Type="http://schemas.openxmlformats.org/officeDocument/2006/relationships/image" Target="../media/image24.png"/><Relationship Id="rId1" Type="http://schemas.openxmlformats.org/officeDocument/2006/relationships/tags" Target="../tags/tag130.xml"/><Relationship Id="rId6" Type="http://schemas.openxmlformats.org/officeDocument/2006/relationships/tags" Target="../tags/tag135.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tags" Target="../tags/tag157.xml"/><Relationship Id="rId36" Type="http://schemas.openxmlformats.org/officeDocument/2006/relationships/tags" Target="../tags/tag165.xml"/><Relationship Id="rId49" Type="http://schemas.openxmlformats.org/officeDocument/2006/relationships/image" Target="../media/image19.emf"/><Relationship Id="rId57" Type="http://schemas.openxmlformats.org/officeDocument/2006/relationships/image" Target="../media/image27.png"/><Relationship Id="rId10" Type="http://schemas.openxmlformats.org/officeDocument/2006/relationships/tags" Target="../tags/tag139.xml"/><Relationship Id="rId31" Type="http://schemas.openxmlformats.org/officeDocument/2006/relationships/tags" Target="../tags/tag160.xml"/><Relationship Id="rId44" Type="http://schemas.openxmlformats.org/officeDocument/2006/relationships/tags" Target="../tags/tag173.xml"/><Relationship Id="rId52" Type="http://schemas.openxmlformats.org/officeDocument/2006/relationships/image" Target="../media/image22.png"/><Relationship Id="rId60" Type="http://schemas.openxmlformats.org/officeDocument/2006/relationships/image" Target="../media/image30.png"/></Relationships>
</file>

<file path=ppt/slides/_rels/slide3.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image" Target="../media/image36.png"/><Relationship Id="rId1" Type="http://schemas.openxmlformats.org/officeDocument/2006/relationships/slideLayout" Target="../slideLayouts/slideLayout48.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8.png"/><Relationship Id="rId7" Type="http://schemas.openxmlformats.org/officeDocument/2006/relationships/image" Target="../media/image51.jpeg"/><Relationship Id="rId2" Type="http://schemas.openxmlformats.org/officeDocument/2006/relationships/slideLayout" Target="../slideLayouts/slideLayout48.xml"/><Relationship Id="rId1" Type="http://schemas.openxmlformats.org/officeDocument/2006/relationships/tags" Target="../tags/tag176.xml"/><Relationship Id="rId6" Type="http://schemas.openxmlformats.org/officeDocument/2006/relationships/image" Target="../media/image50.jpeg"/><Relationship Id="rId5" Type="http://schemas.openxmlformats.org/officeDocument/2006/relationships/image" Target="../media/image49.emf"/><Relationship Id="rId10" Type="http://schemas.openxmlformats.org/officeDocument/2006/relationships/image" Target="../media/image54.jpeg"/><Relationship Id="rId4" Type="http://schemas.openxmlformats.org/officeDocument/2006/relationships/oleObject" Target="../embeddings/oleObject97.bin"/><Relationship Id="rId9" Type="http://schemas.openxmlformats.org/officeDocument/2006/relationships/image" Target="../media/image53.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image" Target="../media/image56.png"/><Relationship Id="rId2" Type="http://schemas.openxmlformats.org/officeDocument/2006/relationships/tags" Target="../tags/tag177.xml"/><Relationship Id="rId1" Type="http://schemas.openxmlformats.org/officeDocument/2006/relationships/themeOverride" Target="../theme/themeOverride1.xml"/><Relationship Id="rId6" Type="http://schemas.openxmlformats.org/officeDocument/2006/relationships/image" Target="../media/image55.jpeg"/><Relationship Id="rId5" Type="http://schemas.openxmlformats.org/officeDocument/2006/relationships/image" Target="../media/image49.emf"/><Relationship Id="rId4" Type="http://schemas.openxmlformats.org/officeDocument/2006/relationships/oleObject" Target="../embeddings/oleObject9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E64DF0F-A2B2-47D7-A38D-B773A1BCD368}"/>
              </a:ext>
            </a:extLst>
          </p:cNvPr>
          <p:cNvGraphicFramePr>
            <a:graphicFrameLocks noChangeAspect="1"/>
          </p:cNvGraphicFramePr>
          <p:nvPr>
            <p:custDataLst>
              <p:tags r:id="rId1"/>
            </p:custDataLst>
            <p:extLst>
              <p:ext uri="{D42A27DB-BD31-4B8C-83A1-F6EECF244321}">
                <p14:modId xmlns:p14="http://schemas.microsoft.com/office/powerpoint/2010/main" val="687290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a:extLst>
                          <a:ext uri="{FF2B5EF4-FFF2-40B4-BE49-F238E27FC236}">
                            <a16:creationId xmlns:a16="http://schemas.microsoft.com/office/drawing/2014/main" id="{7E64DF0F-A2B2-47D7-A38D-B773A1BCD3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Bildplatzhalter 10">
            <a:extLst>
              <a:ext uri="{FF2B5EF4-FFF2-40B4-BE49-F238E27FC236}">
                <a16:creationId xmlns:a16="http://schemas.microsoft.com/office/drawing/2014/main" id="{C7C5E8E9-928B-4830-A81C-DC68574612D6}"/>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a:stretch/>
        </p:blipFill>
        <p:spPr>
          <a:xfrm>
            <a:off x="196850" y="188913"/>
            <a:ext cx="11798300" cy="6480175"/>
          </a:xfrm>
          <a:prstGeom prst="rect">
            <a:avLst/>
          </a:prstGeom>
        </p:spPr>
      </p:pic>
      <p:sp>
        <p:nvSpPr>
          <p:cNvPr id="6" name="Bildplatzhalter 5">
            <a:extLst>
              <a:ext uri="{FF2B5EF4-FFF2-40B4-BE49-F238E27FC236}">
                <a16:creationId xmlns:a16="http://schemas.microsoft.com/office/drawing/2014/main" id="{08B000B1-35C7-4AB5-94C8-6BE46BEC0A3D}"/>
              </a:ext>
            </a:extLst>
          </p:cNvPr>
          <p:cNvSpPr>
            <a:spLocks noGrp="1"/>
          </p:cNvSpPr>
          <p:nvPr>
            <p:ph type="pic" sz="quarter" idx="12"/>
          </p:nvPr>
        </p:nvSpPr>
        <p:spPr/>
      </p:sp>
      <p:sp>
        <p:nvSpPr>
          <p:cNvPr id="2" name="Textplatzhalter 1">
            <a:extLst>
              <a:ext uri="{FF2B5EF4-FFF2-40B4-BE49-F238E27FC236}">
                <a16:creationId xmlns:a16="http://schemas.microsoft.com/office/drawing/2014/main" id="{406DC157-4E71-418E-A5FF-21EA130C703C}"/>
              </a:ext>
            </a:extLst>
          </p:cNvPr>
          <p:cNvSpPr>
            <a:spLocks noGrp="1"/>
          </p:cNvSpPr>
          <p:nvPr>
            <p:ph type="body" sz="quarter" idx="10"/>
          </p:nvPr>
        </p:nvSpPr>
        <p:spPr/>
        <p:txBody>
          <a:bodyPr/>
          <a:lstStyle/>
          <a:p>
            <a:pPr algn="r" rtl="0"/>
            <a:r>
              <a:rPr lang="en-GB" b="0" i="0" u="none" baseline="0" dirty="0"/>
              <a:t>Herfried Harreiter</a:t>
            </a:r>
          </a:p>
          <a:p>
            <a:pPr algn="r" rtl="0"/>
            <a:r>
              <a:rPr lang="en-GB" b="0" i="0" u="none" baseline="0" dirty="0"/>
              <a:t>Vienna</a:t>
            </a:r>
          </a:p>
          <a:p>
            <a:pPr algn="r" rtl="0"/>
            <a:r>
              <a:rPr lang="en-GB" b="0" i="0" u="none" baseline="0" dirty="0"/>
              <a:t>April 2024</a:t>
            </a:r>
          </a:p>
        </p:txBody>
      </p:sp>
      <p:sp>
        <p:nvSpPr>
          <p:cNvPr id="3" name="Titel 2">
            <a:extLst>
              <a:ext uri="{FF2B5EF4-FFF2-40B4-BE49-F238E27FC236}">
                <a16:creationId xmlns:a16="http://schemas.microsoft.com/office/drawing/2014/main" id="{DE8B9B1B-9E30-4AA2-86AB-79FCDD0D8DD6}"/>
              </a:ext>
            </a:extLst>
          </p:cNvPr>
          <p:cNvSpPr>
            <a:spLocks noGrp="1"/>
          </p:cNvSpPr>
          <p:nvPr>
            <p:ph type="title"/>
          </p:nvPr>
        </p:nvSpPr>
        <p:spPr>
          <a:xfrm>
            <a:off x="303931" y="458642"/>
            <a:ext cx="4967865" cy="2229805"/>
          </a:xfrm>
        </p:spPr>
        <p:txBody>
          <a:bodyPr vert="horz"/>
          <a:lstStyle/>
          <a:p>
            <a:br>
              <a:rPr lang="en-GB" b="0" i="0" u="none" baseline="0" dirty="0"/>
            </a:br>
            <a:r>
              <a:rPr lang="en-GB" sz="3200" dirty="0"/>
              <a:t>Hydropower</a:t>
            </a:r>
            <a:br>
              <a:rPr lang="en-GB" sz="3200" dirty="0"/>
            </a:br>
            <a:r>
              <a:rPr lang="en-GB" sz="2000" b="0" i="0" u="none" baseline="0" dirty="0"/>
              <a:t>EUSDR - </a:t>
            </a:r>
            <a:r>
              <a:rPr lang="en-GB" sz="2000" dirty="0"/>
              <a:t>National Participation Day</a:t>
            </a:r>
            <a:br>
              <a:rPr lang="en-GB" sz="2000" dirty="0"/>
            </a:br>
            <a:r>
              <a:rPr lang="de-AT" sz="2000" dirty="0"/>
              <a:t>Panel 3: Energy &amp; Transport</a:t>
            </a:r>
            <a:br>
              <a:rPr lang="en-GB" sz="1400" dirty="0"/>
            </a:br>
            <a:endParaRPr lang="en-GB" dirty="0"/>
          </a:p>
        </p:txBody>
      </p:sp>
      <p:sp>
        <p:nvSpPr>
          <p:cNvPr id="7" name="Bildplatzhalter 6">
            <a:extLst>
              <a:ext uri="{FF2B5EF4-FFF2-40B4-BE49-F238E27FC236}">
                <a16:creationId xmlns:a16="http://schemas.microsoft.com/office/drawing/2014/main" id="{8F1912F8-2DE5-4C95-85A7-A78BED0E92B0}"/>
              </a:ext>
            </a:extLst>
          </p:cNvPr>
          <p:cNvSpPr>
            <a:spLocks noGrp="1"/>
          </p:cNvSpPr>
          <p:nvPr>
            <p:ph type="pic" sz="quarter" idx="13"/>
          </p:nvPr>
        </p:nvSpPr>
        <p:spPr/>
      </p:sp>
    </p:spTree>
    <p:extLst>
      <p:ext uri="{BB962C8B-B14F-4D97-AF65-F5344CB8AC3E}">
        <p14:creationId xmlns:p14="http://schemas.microsoft.com/office/powerpoint/2010/main" val="33564381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8E921E5-AEB3-599A-0D78-667C1C94A4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1" imgH="381" progId="TCLayout.ActiveDocument.1">
                  <p:embed/>
                </p:oleObj>
              </mc:Choice>
              <mc:Fallback>
                <p:oleObj name="think-cell Folie" r:id="rId4" imgW="381" imgH="381" progId="TCLayout.ActiveDocument.1">
                  <p:embed/>
                  <p:pic>
                    <p:nvPicPr>
                      <p:cNvPr id="8" name="Objekt 7" hidden="1">
                        <a:extLst>
                          <a:ext uri="{FF2B5EF4-FFF2-40B4-BE49-F238E27FC236}">
                            <a16:creationId xmlns:a16="http://schemas.microsoft.com/office/drawing/2014/main" id="{48E921E5-AEB3-599A-0D78-667C1C94A4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EE481B63-42DD-1E48-F4DB-501C33F91F0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1200" cap="none" spc="0" normalizeH="0" baseline="0" noProof="0">
                <a:ln>
                  <a:noFill/>
                </a:ln>
                <a:solidFill>
                  <a:srgbClr val="00488E"/>
                </a:solidFill>
                <a:effectLst/>
                <a:uLnTx/>
                <a:uFillTx/>
                <a:latin typeface="Arial"/>
                <a:ea typeface="MS PGothic"/>
                <a:cs typeface="+mn-cs"/>
              </a:rPr>
              <a:t>Seite </a:t>
            </a:r>
            <a:fld id="{56C9A048-A28E-493E-A30E-F5A55EC874C9}" type="slidenum">
              <a:rPr kumimoji="0" lang="de-AT" sz="800" b="0" i="0" u="none" strike="noStrike" kern="1200" cap="none" spc="0" normalizeH="0" baseline="0" noProof="0" smtClean="0">
                <a:ln>
                  <a:noFill/>
                </a:ln>
                <a:solidFill>
                  <a:srgbClr val="00488E"/>
                </a:solidFill>
                <a:effectLst/>
                <a:uLnTx/>
                <a:uFillTx/>
                <a:latin typeface="Arial"/>
                <a:ea typeface="MS PGothic"/>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e-AT" sz="800" b="0" i="0" u="none" strike="noStrike" kern="1200" cap="none" spc="0" normalizeH="0" baseline="0" noProof="0" dirty="0">
              <a:ln>
                <a:noFill/>
              </a:ln>
              <a:solidFill>
                <a:srgbClr val="00488E"/>
              </a:solidFill>
              <a:effectLst/>
              <a:uLnTx/>
              <a:uFillTx/>
              <a:latin typeface="Arial"/>
              <a:ea typeface="MS PGothic"/>
              <a:cs typeface="+mn-cs"/>
            </a:endParaRPr>
          </a:p>
        </p:txBody>
      </p:sp>
      <p:sp>
        <p:nvSpPr>
          <p:cNvPr id="6" name="Titel 5">
            <a:extLst>
              <a:ext uri="{FF2B5EF4-FFF2-40B4-BE49-F238E27FC236}">
                <a16:creationId xmlns:a16="http://schemas.microsoft.com/office/drawing/2014/main" id="{9154AC43-53DF-32B1-0FAA-3821E36D6173}"/>
              </a:ext>
            </a:extLst>
          </p:cNvPr>
          <p:cNvSpPr>
            <a:spLocks noGrp="1"/>
          </p:cNvSpPr>
          <p:nvPr>
            <p:ph type="title"/>
          </p:nvPr>
        </p:nvSpPr>
        <p:spPr>
          <a:xfrm>
            <a:off x="218360" y="166509"/>
            <a:ext cx="11790138" cy="706311"/>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GB" dirty="0">
                <a:solidFill>
                  <a:schemeClr val="bg1"/>
                </a:solidFill>
              </a:rPr>
              <a:t>Ecology, Water Framework Directive and Biodiversity</a:t>
            </a:r>
          </a:p>
        </p:txBody>
      </p:sp>
      <p:sp>
        <p:nvSpPr>
          <p:cNvPr id="29" name="Text Box 16"/>
          <p:cNvSpPr txBox="1">
            <a:spLocks noChangeArrowheads="1"/>
          </p:cNvSpPr>
          <p:nvPr/>
        </p:nvSpPr>
        <p:spPr bwMode="auto">
          <a:xfrm>
            <a:off x="494602" y="1143013"/>
            <a:ext cx="6568671" cy="452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lnSpc>
                <a:spcPts val="2000"/>
              </a:lnSpc>
              <a:buClr>
                <a:srgbClr val="00488E"/>
              </a:buClr>
              <a:buChar char="•"/>
              <a:defRPr sz="1500">
                <a:solidFill>
                  <a:schemeClr val="tx1"/>
                </a:solidFill>
                <a:latin typeface="Arial" charset="0"/>
                <a:ea typeface="MS PGothic" pitchFamily="34" charset="-128"/>
              </a:defRPr>
            </a:lvl1pPr>
            <a:lvl2pPr marL="742950" indent="-285750" eaLnBrk="0" hangingPunct="0">
              <a:lnSpc>
                <a:spcPts val="2000"/>
              </a:lnSpc>
              <a:buChar char="•"/>
              <a:defRPr sz="1500">
                <a:solidFill>
                  <a:schemeClr val="tx1"/>
                </a:solidFill>
                <a:latin typeface="Arial" charset="0"/>
                <a:ea typeface="MS PGothic" pitchFamily="34" charset="-128"/>
              </a:defRPr>
            </a:lvl2pPr>
            <a:lvl3pPr marL="1143000" indent="-228600" eaLnBrk="0" hangingPunct="0">
              <a:lnSpc>
                <a:spcPts val="2000"/>
              </a:lnSpc>
              <a:buChar char="•"/>
              <a:defRPr sz="1500">
                <a:solidFill>
                  <a:schemeClr val="tx1"/>
                </a:solidFill>
                <a:latin typeface="Arial" charset="0"/>
                <a:ea typeface="MS PGothic" pitchFamily="34" charset="-128"/>
              </a:defRPr>
            </a:lvl3pPr>
            <a:lvl4pPr marL="1600200" indent="-228600" eaLnBrk="0" hangingPunct="0">
              <a:lnSpc>
                <a:spcPts val="1500"/>
              </a:lnSpc>
              <a:buChar char="–"/>
              <a:defRPr sz="1000">
                <a:solidFill>
                  <a:schemeClr val="bg2"/>
                </a:solidFill>
                <a:latin typeface="Arial" charset="0"/>
                <a:ea typeface="MS PGothic" pitchFamily="34" charset="-128"/>
              </a:defRPr>
            </a:lvl4pPr>
            <a:lvl5pPr marL="2057400" indent="-228600" eaLnBrk="0" hangingPunct="0">
              <a:lnSpc>
                <a:spcPts val="1500"/>
              </a:lnSpc>
              <a:buChar char="»"/>
              <a:defRPr sz="1000">
                <a:solidFill>
                  <a:schemeClr val="bg2"/>
                </a:solidFill>
                <a:latin typeface="Arial" charset="0"/>
                <a:ea typeface="MS PGothic" pitchFamily="34" charset="-128"/>
              </a:defRPr>
            </a:lvl5pPr>
            <a:lvl6pPr marL="25146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6pPr>
            <a:lvl7pPr marL="29718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7pPr>
            <a:lvl8pPr marL="34290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8pPr>
            <a:lvl9pPr marL="38862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9pPr>
          </a:lstStyle>
          <a:p>
            <a:pPr marL="380990" lvl="2" indent="-380990" eaLnBrk="0" fontAlgn="auto" hangingPunct="0">
              <a:lnSpc>
                <a:spcPct val="100000"/>
              </a:lnSpc>
              <a:spcBef>
                <a:spcPts val="0"/>
              </a:spcBef>
              <a:spcAft>
                <a:spcPts val="400"/>
              </a:spcAft>
              <a:buFont typeface="Wingdings" panose="05000000000000000000" pitchFamily="2" charset="2"/>
              <a:buChar char=""/>
              <a:tabLst>
                <a:tab pos="0" algn="l"/>
              </a:tabLst>
              <a:defRPr/>
            </a:pPr>
            <a:r>
              <a:rPr lang="en-GB" sz="1400" b="1" dirty="0"/>
              <a:t>Hydropower</a:t>
            </a:r>
          </a:p>
          <a:p>
            <a:pPr marL="715415" lvl="3" indent="-357708" fontAlgn="auto">
              <a:lnSpc>
                <a:spcPct val="100000"/>
              </a:lnSpc>
              <a:spcBef>
                <a:spcPts val="0"/>
              </a:spcBef>
              <a:spcAft>
                <a:spcPts val="400"/>
              </a:spcAft>
              <a:buFont typeface="Arial" panose="020B0604020202020204" pitchFamily="34" charset="0"/>
              <a:buChar char="•"/>
              <a:tabLst>
                <a:tab pos="0" algn="l"/>
              </a:tabLst>
              <a:defRPr/>
            </a:pPr>
            <a:r>
              <a:rPr lang="en-GB" sz="1400" dirty="0">
                <a:solidFill>
                  <a:schemeClr val="tx1"/>
                </a:solidFill>
              </a:rPr>
              <a:t>Responsible only for app. 10 bis 15% of barriers in rivers</a:t>
            </a:r>
          </a:p>
          <a:p>
            <a:pPr marL="715415" lvl="3" indent="-357708" fontAlgn="auto">
              <a:lnSpc>
                <a:spcPct val="100000"/>
              </a:lnSpc>
              <a:spcBef>
                <a:spcPts val="0"/>
              </a:spcBef>
              <a:spcAft>
                <a:spcPts val="400"/>
              </a:spcAft>
              <a:buFont typeface="Arial" panose="020B0604020202020204" pitchFamily="34" charset="0"/>
              <a:buChar char="•"/>
              <a:tabLst>
                <a:tab pos="0" algn="l"/>
              </a:tabLst>
              <a:defRPr/>
            </a:pPr>
            <a:r>
              <a:rPr lang="en-GB" sz="1400" dirty="0">
                <a:solidFill>
                  <a:schemeClr val="tx1"/>
                </a:solidFill>
              </a:rPr>
              <a:t>Due to implementation of Water Framework Directive (WFD) more than 20 years' experience in implementation of mitigation measurements</a:t>
            </a:r>
          </a:p>
          <a:p>
            <a:pPr marL="715415" lvl="3" indent="-357708">
              <a:lnSpc>
                <a:spcPct val="100000"/>
              </a:lnSpc>
              <a:spcAft>
                <a:spcPts val="400"/>
              </a:spcAft>
              <a:buFont typeface="Arial" panose="020B0604020202020204" pitchFamily="34" charset="0"/>
              <a:buChar char="•"/>
              <a:tabLst>
                <a:tab pos="0" algn="l"/>
              </a:tabLst>
              <a:defRPr/>
            </a:pPr>
            <a:r>
              <a:rPr lang="en-GB" sz="1400" dirty="0">
                <a:solidFill>
                  <a:schemeClr val="tx1"/>
                </a:solidFill>
              </a:rPr>
              <a:t>Implementation in Austria based on R&amp;D projects (e.g.: </a:t>
            </a:r>
            <a:r>
              <a:rPr lang="en-GB" sz="1400" dirty="0" err="1">
                <a:solidFill>
                  <a:schemeClr val="tx1"/>
                </a:solidFill>
              </a:rPr>
              <a:t>SuREmMa</a:t>
            </a:r>
            <a:r>
              <a:rPr lang="en-GB" sz="1400" dirty="0">
                <a:solidFill>
                  <a:schemeClr val="tx1"/>
                </a:solidFill>
              </a:rPr>
              <a:t>, </a:t>
            </a:r>
            <a:r>
              <a:rPr lang="en-GB" sz="1400" dirty="0" err="1">
                <a:solidFill>
                  <a:schemeClr val="tx1"/>
                </a:solidFill>
              </a:rPr>
              <a:t>ÖkoReSch</a:t>
            </a:r>
            <a:r>
              <a:rPr lang="en-GB" sz="1400" dirty="0">
                <a:solidFill>
                  <a:schemeClr val="tx1"/>
                </a:solidFill>
              </a:rPr>
              <a:t>, </a:t>
            </a:r>
            <a:r>
              <a:rPr lang="de-AT" sz="1400" dirty="0">
                <a:solidFill>
                  <a:schemeClr val="tx1"/>
                </a:solidFill>
              </a:rPr>
              <a:t>CD Labor für Sedimentforschung und –</a:t>
            </a:r>
            <a:r>
              <a:rPr lang="de-AT" sz="1400" dirty="0" err="1">
                <a:solidFill>
                  <a:schemeClr val="tx1"/>
                </a:solidFill>
              </a:rPr>
              <a:t>management</a:t>
            </a:r>
            <a:r>
              <a:rPr lang="de-AT" sz="1400" dirty="0">
                <a:solidFill>
                  <a:schemeClr val="tx1"/>
                </a:solidFill>
              </a:rPr>
              <a:t>, CD MERI – Dynamik von META-Ökosystemen,…</a:t>
            </a:r>
            <a:r>
              <a:rPr lang="en-GB" sz="1400" dirty="0">
                <a:solidFill>
                  <a:schemeClr val="tx1"/>
                </a:solidFill>
              </a:rPr>
              <a:t> )</a:t>
            </a:r>
          </a:p>
          <a:p>
            <a:pPr marL="380990" lvl="2" indent="-380990" eaLnBrk="0" fontAlgn="auto" hangingPunct="0">
              <a:lnSpc>
                <a:spcPct val="100000"/>
              </a:lnSpc>
              <a:spcBef>
                <a:spcPts val="800"/>
              </a:spcBef>
              <a:spcAft>
                <a:spcPts val="400"/>
              </a:spcAft>
              <a:buFont typeface="Wingdings" panose="05000000000000000000" pitchFamily="2" charset="2"/>
              <a:buChar char=""/>
              <a:tabLst>
                <a:tab pos="0" algn="l"/>
              </a:tabLst>
              <a:defRPr/>
            </a:pPr>
            <a:r>
              <a:rPr lang="en-GB" sz="1400" b="1" dirty="0"/>
              <a:t>Specific Hydro Power Issues:</a:t>
            </a:r>
          </a:p>
          <a:p>
            <a:pPr marL="715415" lvl="3" indent="-357708">
              <a:lnSpc>
                <a:spcPct val="100000"/>
              </a:lnSpc>
              <a:spcAft>
                <a:spcPts val="400"/>
              </a:spcAft>
              <a:buFont typeface="Arial" panose="020B0604020202020204" pitchFamily="34" charset="0"/>
              <a:buChar char="•"/>
              <a:tabLst>
                <a:tab pos="0" algn="l"/>
              </a:tabLst>
              <a:defRPr/>
            </a:pPr>
            <a:r>
              <a:rPr lang="en-GB" sz="1400" dirty="0">
                <a:solidFill>
                  <a:schemeClr val="tx1"/>
                </a:solidFill>
              </a:rPr>
              <a:t>Connectivity</a:t>
            </a:r>
          </a:p>
          <a:p>
            <a:pPr marL="715415" lvl="3" indent="-357708">
              <a:lnSpc>
                <a:spcPct val="100000"/>
              </a:lnSpc>
              <a:spcAft>
                <a:spcPts val="400"/>
              </a:spcAft>
              <a:buFont typeface="Arial" panose="020B0604020202020204" pitchFamily="34" charset="0"/>
              <a:buChar char="•"/>
              <a:tabLst>
                <a:tab pos="0" algn="l"/>
              </a:tabLst>
              <a:defRPr/>
            </a:pPr>
            <a:r>
              <a:rPr lang="en-GB" sz="1400" dirty="0">
                <a:solidFill>
                  <a:schemeClr val="tx1"/>
                </a:solidFill>
              </a:rPr>
              <a:t>Ecological Flow </a:t>
            </a:r>
          </a:p>
          <a:p>
            <a:pPr marL="715415" lvl="3" indent="-357708">
              <a:lnSpc>
                <a:spcPct val="100000"/>
              </a:lnSpc>
              <a:spcAft>
                <a:spcPts val="400"/>
              </a:spcAft>
              <a:buFont typeface="Arial" panose="020B0604020202020204" pitchFamily="34" charset="0"/>
              <a:buChar char="•"/>
              <a:tabLst>
                <a:tab pos="0" algn="l"/>
              </a:tabLst>
              <a:defRPr/>
            </a:pPr>
            <a:r>
              <a:rPr lang="en-GB" sz="1400" dirty="0">
                <a:solidFill>
                  <a:schemeClr val="tx1"/>
                </a:solidFill>
              </a:rPr>
              <a:t>Hydropeaking</a:t>
            </a:r>
          </a:p>
          <a:p>
            <a:pPr marL="715415" lvl="3" indent="-357708">
              <a:lnSpc>
                <a:spcPct val="100000"/>
              </a:lnSpc>
              <a:spcAft>
                <a:spcPts val="400"/>
              </a:spcAft>
              <a:buFont typeface="Arial" panose="020B0604020202020204" pitchFamily="34" charset="0"/>
              <a:buChar char="•"/>
              <a:tabLst>
                <a:tab pos="0" algn="l"/>
              </a:tabLst>
              <a:defRPr/>
            </a:pPr>
            <a:r>
              <a:rPr lang="en-GB" sz="1400" dirty="0">
                <a:solidFill>
                  <a:schemeClr val="tx1"/>
                </a:solidFill>
              </a:rPr>
              <a:t>Sediment Management</a:t>
            </a:r>
          </a:p>
          <a:p>
            <a:pPr marL="715415" lvl="3" indent="-357708">
              <a:lnSpc>
                <a:spcPct val="100000"/>
              </a:lnSpc>
              <a:spcAft>
                <a:spcPts val="400"/>
              </a:spcAft>
              <a:buFont typeface="Arial" panose="020B0604020202020204" pitchFamily="34" charset="0"/>
              <a:buChar char="•"/>
              <a:tabLst>
                <a:tab pos="0" algn="l"/>
              </a:tabLst>
              <a:defRPr/>
            </a:pPr>
            <a:r>
              <a:rPr lang="en-GB" sz="1400" dirty="0">
                <a:solidFill>
                  <a:schemeClr val="tx1"/>
                </a:solidFill>
              </a:rPr>
              <a:t>River Morphology</a:t>
            </a:r>
          </a:p>
          <a:p>
            <a:pPr marL="380990" lvl="2" indent="-380990">
              <a:lnSpc>
                <a:spcPct val="100000"/>
              </a:lnSpc>
              <a:spcBef>
                <a:spcPts val="800"/>
              </a:spcBef>
              <a:spcAft>
                <a:spcPts val="400"/>
              </a:spcAft>
              <a:buFont typeface="Wingdings" panose="05000000000000000000" pitchFamily="2" charset="2"/>
              <a:buChar char=""/>
              <a:tabLst>
                <a:tab pos="0" algn="l"/>
              </a:tabLst>
              <a:defRPr/>
            </a:pPr>
            <a:r>
              <a:rPr lang="en-GB" sz="1400" b="1" dirty="0"/>
              <a:t>Impacts on river ecosystems caused by multiple water users (beside Hydropower), e.g. Agriculture, Water Supply, Sewerage Systems, River Navigation, Industry, Tourism,….  </a:t>
            </a:r>
          </a:p>
          <a:p>
            <a:pPr marL="715415" lvl="3" indent="-357708">
              <a:lnSpc>
                <a:spcPct val="100000"/>
              </a:lnSpc>
              <a:spcAft>
                <a:spcPts val="400"/>
              </a:spcAft>
              <a:buFont typeface="Arial" panose="020B0604020202020204" pitchFamily="34" charset="0"/>
              <a:buChar char="•"/>
              <a:tabLst>
                <a:tab pos="0" algn="l"/>
              </a:tabLst>
              <a:defRPr/>
            </a:pPr>
            <a:endParaRPr lang="en-GB" sz="1400" dirty="0">
              <a:solidFill>
                <a:schemeClr val="tx1"/>
              </a:solidFill>
            </a:endParaRPr>
          </a:p>
        </p:txBody>
      </p:sp>
      <p:pic>
        <p:nvPicPr>
          <p:cNvPr id="2" name="Grafik 1">
            <a:extLst>
              <a:ext uri="{FF2B5EF4-FFF2-40B4-BE49-F238E27FC236}">
                <a16:creationId xmlns:a16="http://schemas.microsoft.com/office/drawing/2014/main" id="{B5322ACE-BB0C-9BAE-6EC0-1F64A89302D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69764" y="1143013"/>
            <a:ext cx="3825208" cy="2750014"/>
          </a:xfrm>
          <a:prstGeom prst="rect">
            <a:avLst/>
          </a:prstGeom>
        </p:spPr>
      </p:pic>
      <p:sp>
        <p:nvSpPr>
          <p:cNvPr id="3" name="Rechteck 2">
            <a:extLst>
              <a:ext uri="{FF2B5EF4-FFF2-40B4-BE49-F238E27FC236}">
                <a16:creationId xmlns:a16="http://schemas.microsoft.com/office/drawing/2014/main" id="{CE03D38A-6DAD-1D94-6B0F-36165EF94EDB}"/>
              </a:ext>
            </a:extLst>
          </p:cNvPr>
          <p:cNvSpPr/>
          <p:nvPr/>
        </p:nvSpPr>
        <p:spPr>
          <a:xfrm>
            <a:off x="7669764" y="3916380"/>
            <a:ext cx="3825208" cy="584968"/>
          </a:xfrm>
          <a:prstGeom prst="rect">
            <a:avLst/>
          </a:prstGeom>
        </p:spPr>
        <p:txBody>
          <a:bodyPr wrap="square">
            <a:spAutoFit/>
          </a:bodyPr>
          <a:lstStyle/>
          <a:p>
            <a:r>
              <a:rPr lang="en-GB" sz="1067" dirty="0"/>
              <a:t>Water Use and responsibilities in a „</a:t>
            </a:r>
            <a:r>
              <a:rPr lang="en-GB" sz="1067" dirty="0" err="1"/>
              <a:t>Multistressor</a:t>
            </a:r>
            <a:r>
              <a:rPr lang="en-GB" sz="1067" dirty="0"/>
              <a:t>-System“ (Source: Reckendorfer et al, 2017, </a:t>
            </a:r>
            <a:r>
              <a:rPr lang="en-GB" sz="1067" dirty="0" err="1"/>
              <a:t>Wasserwirtschaft</a:t>
            </a:r>
            <a:r>
              <a:rPr lang="en-GB" sz="1067" dirty="0"/>
              <a:t> 107, Page 82-86)</a:t>
            </a:r>
          </a:p>
        </p:txBody>
      </p:sp>
    </p:spTree>
    <p:extLst>
      <p:ext uri="{BB962C8B-B14F-4D97-AF65-F5344CB8AC3E}">
        <p14:creationId xmlns:p14="http://schemas.microsoft.com/office/powerpoint/2010/main" val="3600074223"/>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8E921E5-AEB3-599A-0D78-667C1C94A4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1" imgH="381" progId="TCLayout.ActiveDocument.1">
                  <p:embed/>
                </p:oleObj>
              </mc:Choice>
              <mc:Fallback>
                <p:oleObj name="think-cell Folie" r:id="rId4" imgW="381" imgH="381" progId="TCLayout.ActiveDocument.1">
                  <p:embed/>
                  <p:pic>
                    <p:nvPicPr>
                      <p:cNvPr id="8" name="Objekt 7" hidden="1">
                        <a:extLst>
                          <a:ext uri="{FF2B5EF4-FFF2-40B4-BE49-F238E27FC236}">
                            <a16:creationId xmlns:a16="http://schemas.microsoft.com/office/drawing/2014/main" id="{48E921E5-AEB3-599A-0D78-667C1C94A4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EE481B63-42DD-1E48-F4DB-501C33F91F0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1200" cap="none" spc="0" normalizeH="0" baseline="0" noProof="0">
                <a:ln>
                  <a:noFill/>
                </a:ln>
                <a:solidFill>
                  <a:srgbClr val="00488E"/>
                </a:solidFill>
                <a:effectLst/>
                <a:uLnTx/>
                <a:uFillTx/>
                <a:latin typeface="Arial"/>
                <a:ea typeface="MS PGothic"/>
                <a:cs typeface="+mn-cs"/>
              </a:rPr>
              <a:t>Seite </a:t>
            </a:r>
            <a:fld id="{56C9A048-A28E-493E-A30E-F5A55EC874C9}" type="slidenum">
              <a:rPr kumimoji="0" lang="de-AT" sz="800" b="0" i="0" u="none" strike="noStrike" kern="1200" cap="none" spc="0" normalizeH="0" baseline="0" noProof="0" smtClean="0">
                <a:ln>
                  <a:noFill/>
                </a:ln>
                <a:solidFill>
                  <a:srgbClr val="00488E"/>
                </a:solidFill>
                <a:effectLst/>
                <a:uLnTx/>
                <a:uFillTx/>
                <a:latin typeface="Arial"/>
                <a:ea typeface="MS PGothic"/>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de-AT" sz="800" b="0" i="0" u="none" strike="noStrike" kern="1200" cap="none" spc="0" normalizeH="0" baseline="0" noProof="0" dirty="0">
              <a:ln>
                <a:noFill/>
              </a:ln>
              <a:solidFill>
                <a:srgbClr val="00488E"/>
              </a:solidFill>
              <a:effectLst/>
              <a:uLnTx/>
              <a:uFillTx/>
              <a:latin typeface="Arial"/>
              <a:ea typeface="MS PGothic"/>
              <a:cs typeface="+mn-cs"/>
            </a:endParaRPr>
          </a:p>
        </p:txBody>
      </p:sp>
      <p:sp>
        <p:nvSpPr>
          <p:cNvPr id="6" name="Titel 5">
            <a:extLst>
              <a:ext uri="{FF2B5EF4-FFF2-40B4-BE49-F238E27FC236}">
                <a16:creationId xmlns:a16="http://schemas.microsoft.com/office/drawing/2014/main" id="{9154AC43-53DF-32B1-0FAA-3821E36D6173}"/>
              </a:ext>
            </a:extLst>
          </p:cNvPr>
          <p:cNvSpPr>
            <a:spLocks noGrp="1"/>
          </p:cNvSpPr>
          <p:nvPr>
            <p:ph type="title"/>
          </p:nvPr>
        </p:nvSpPr>
        <p:spPr>
          <a:xfrm>
            <a:off x="218360" y="166509"/>
            <a:ext cx="11790138" cy="706311"/>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GB" dirty="0">
                <a:solidFill>
                  <a:schemeClr val="bg1"/>
                </a:solidFill>
              </a:rPr>
              <a:t>Success Story Life Projects</a:t>
            </a:r>
          </a:p>
        </p:txBody>
      </p:sp>
      <p:sp>
        <p:nvSpPr>
          <p:cNvPr id="4" name="Foliennummernplatzhalter 5">
            <a:extLst>
              <a:ext uri="{FF2B5EF4-FFF2-40B4-BE49-F238E27FC236}">
                <a16:creationId xmlns:a16="http://schemas.microsoft.com/office/drawing/2014/main" id="{7A1BC682-0931-5B73-FC37-F5F12C579D54}"/>
              </a:ext>
            </a:extLst>
          </p:cNvPr>
          <p:cNvSpPr txBox="1">
            <a:spLocks/>
          </p:cNvSpPr>
          <p:nvPr/>
        </p:nvSpPr>
        <p:spPr>
          <a:xfrm>
            <a:off x="9114656" y="6365922"/>
            <a:ext cx="2705869" cy="123111"/>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fontAlgn="base" hangingPunct="0">
              <a:spcBef>
                <a:spcPct val="0"/>
              </a:spcBef>
              <a:spcAft>
                <a:spcPct val="0"/>
              </a:spcAft>
            </a:pPr>
            <a:r>
              <a:rPr lang="de-AT"/>
              <a:t>Seite </a:t>
            </a:r>
            <a:fld id="{56C9A048-A28E-493E-A30E-F5A55EC874C9}" type="slidenum">
              <a:rPr lang="de-AT" smtClean="0"/>
              <a:pPr algn="r" eaLnBrk="0" fontAlgn="base" hangingPunct="0">
                <a:spcBef>
                  <a:spcPct val="0"/>
                </a:spcBef>
                <a:spcAft>
                  <a:spcPct val="0"/>
                </a:spcAft>
              </a:pPr>
              <a:t>11</a:t>
            </a:fld>
            <a:endParaRPr lang="de-AT" dirty="0"/>
          </a:p>
        </p:txBody>
      </p:sp>
      <p:grpSp>
        <p:nvGrpSpPr>
          <p:cNvPr id="7" name="Gruppieren 6">
            <a:extLst>
              <a:ext uri="{FF2B5EF4-FFF2-40B4-BE49-F238E27FC236}">
                <a16:creationId xmlns:a16="http://schemas.microsoft.com/office/drawing/2014/main" id="{1408FA66-F128-EE0B-A5E2-0231B4770CEE}"/>
              </a:ext>
            </a:extLst>
          </p:cNvPr>
          <p:cNvGrpSpPr/>
          <p:nvPr/>
        </p:nvGrpSpPr>
        <p:grpSpPr>
          <a:xfrm>
            <a:off x="3723892" y="1124744"/>
            <a:ext cx="6048672" cy="2918238"/>
            <a:chOff x="465667" y="982133"/>
            <a:chExt cx="7065063" cy="3526476"/>
          </a:xfrm>
        </p:grpSpPr>
        <p:pic>
          <p:nvPicPr>
            <p:cNvPr id="9" name="Grafik 8">
              <a:extLst>
                <a:ext uri="{FF2B5EF4-FFF2-40B4-BE49-F238E27FC236}">
                  <a16:creationId xmlns:a16="http://schemas.microsoft.com/office/drawing/2014/main" id="{5E16D07C-4B3E-C11A-EF91-675C0526684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77849" y="1205215"/>
              <a:ext cx="6952881" cy="3303394"/>
            </a:xfrm>
            <a:prstGeom prst="rect">
              <a:avLst/>
            </a:prstGeom>
          </p:spPr>
        </p:pic>
        <p:sp>
          <p:nvSpPr>
            <p:cNvPr id="10" name="Rechteck 9">
              <a:extLst>
                <a:ext uri="{FF2B5EF4-FFF2-40B4-BE49-F238E27FC236}">
                  <a16:creationId xmlns:a16="http://schemas.microsoft.com/office/drawing/2014/main" id="{21E7EAB7-B824-76C3-EE86-740B5626E602}"/>
                </a:ext>
              </a:extLst>
            </p:cNvPr>
            <p:cNvSpPr/>
            <p:nvPr/>
          </p:nvSpPr>
          <p:spPr bwMode="auto">
            <a:xfrm>
              <a:off x="465667" y="982133"/>
              <a:ext cx="3263900" cy="75776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0" fontAlgn="base" latinLnBrk="0" hangingPunct="0">
                <a:lnSpc>
                  <a:spcPct val="100000"/>
                </a:lnSpc>
                <a:spcBef>
                  <a:spcPct val="0"/>
                </a:spcBef>
                <a:spcAft>
                  <a:spcPct val="0"/>
                </a:spcAft>
                <a:buClrTx/>
                <a:buSzTx/>
                <a:buFontTx/>
                <a:buNone/>
                <a:tabLst/>
                <a:defRPr/>
              </a:pPr>
              <a:endParaRPr kumimoji="0" lang="de-AT" sz="20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grpSp>
      <p:pic>
        <p:nvPicPr>
          <p:cNvPr id="11" name="Grafik 10">
            <a:extLst>
              <a:ext uri="{FF2B5EF4-FFF2-40B4-BE49-F238E27FC236}">
                <a16:creationId xmlns:a16="http://schemas.microsoft.com/office/drawing/2014/main" id="{C4F8CE74-83C1-0374-4918-11670C984DF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765541" y="4737640"/>
            <a:ext cx="3764373" cy="1519374"/>
          </a:xfrm>
          <a:prstGeom prst="rect">
            <a:avLst/>
          </a:prstGeom>
        </p:spPr>
      </p:pic>
      <p:pic>
        <p:nvPicPr>
          <p:cNvPr id="12" name="Grafik 11">
            <a:extLst>
              <a:ext uri="{FF2B5EF4-FFF2-40B4-BE49-F238E27FC236}">
                <a16:creationId xmlns:a16="http://schemas.microsoft.com/office/drawing/2014/main" id="{6AAD0CD0-68EC-5AAD-E779-7EA047D9820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789424" y="4444363"/>
            <a:ext cx="2766440" cy="1807406"/>
          </a:xfrm>
          <a:prstGeom prst="rect">
            <a:avLst/>
          </a:prstGeom>
        </p:spPr>
      </p:pic>
      <p:pic>
        <p:nvPicPr>
          <p:cNvPr id="13" name="Grafik 12">
            <a:extLst>
              <a:ext uri="{FF2B5EF4-FFF2-40B4-BE49-F238E27FC236}">
                <a16:creationId xmlns:a16="http://schemas.microsoft.com/office/drawing/2014/main" id="{5EC18228-E4DB-42B9-6A56-20FB10DE21C2}"/>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96566" y="1304438"/>
            <a:ext cx="3024336" cy="3118479"/>
          </a:xfrm>
          <a:prstGeom prst="rect">
            <a:avLst/>
          </a:prstGeom>
        </p:spPr>
      </p:pic>
      <p:sp>
        <p:nvSpPr>
          <p:cNvPr id="14" name="Rechteck 13">
            <a:extLst>
              <a:ext uri="{FF2B5EF4-FFF2-40B4-BE49-F238E27FC236}">
                <a16:creationId xmlns:a16="http://schemas.microsoft.com/office/drawing/2014/main" id="{9B6E8A6A-AB37-8256-1FE3-4BB7536C5AD7}"/>
              </a:ext>
            </a:extLst>
          </p:cNvPr>
          <p:cNvSpPr/>
          <p:nvPr/>
        </p:nvSpPr>
        <p:spPr>
          <a:xfrm>
            <a:off x="457994" y="4267835"/>
            <a:ext cx="2170820" cy="338554"/>
          </a:xfrm>
          <a:prstGeom prst="rect">
            <a:avLst/>
          </a:prstGeom>
          <a:solidFill>
            <a:schemeClr val="bg1"/>
          </a:solidFill>
        </p:spPr>
        <p:txBody>
          <a:bodyPr wrap="square">
            <a:spAutoFit/>
          </a:bodyPr>
          <a:lstStyle/>
          <a:p>
            <a:r>
              <a:rPr lang="en-US" sz="800" dirty="0">
                <a:solidFill>
                  <a:srgbClr val="000000"/>
                </a:solidFill>
                <a:latin typeface="Univers"/>
              </a:rPr>
              <a:t>LIFE+ </a:t>
            </a:r>
            <a:r>
              <a:rPr lang="en-US" sz="800" dirty="0" err="1">
                <a:solidFill>
                  <a:srgbClr val="000000"/>
                </a:solidFill>
                <a:latin typeface="Univers"/>
              </a:rPr>
              <a:t>Traisen</a:t>
            </a:r>
            <a:r>
              <a:rPr lang="en-US" sz="800" dirty="0">
                <a:solidFill>
                  <a:srgbClr val="000000"/>
                </a:solidFill>
                <a:latin typeface="Univers"/>
              </a:rPr>
              <a:t>: Overview of the middle section of the "Neue </a:t>
            </a:r>
            <a:r>
              <a:rPr lang="en-US" sz="800" dirty="0" err="1">
                <a:solidFill>
                  <a:srgbClr val="000000"/>
                </a:solidFill>
                <a:latin typeface="Univers"/>
              </a:rPr>
              <a:t>Traisen</a:t>
            </a:r>
            <a:r>
              <a:rPr lang="en-US" sz="800" dirty="0">
                <a:solidFill>
                  <a:srgbClr val="000000"/>
                </a:solidFill>
                <a:latin typeface="Univers"/>
              </a:rPr>
              <a:t>"</a:t>
            </a:r>
            <a:endParaRPr lang="de-AT" sz="800" dirty="0">
              <a:solidFill>
                <a:srgbClr val="000000"/>
              </a:solidFill>
            </a:endParaRPr>
          </a:p>
        </p:txBody>
      </p:sp>
      <p:pic>
        <p:nvPicPr>
          <p:cNvPr id="15" name="Grafik 14">
            <a:extLst>
              <a:ext uri="{FF2B5EF4-FFF2-40B4-BE49-F238E27FC236}">
                <a16:creationId xmlns:a16="http://schemas.microsoft.com/office/drawing/2014/main" id="{0ACACF21-C1DC-2793-FAD6-062F94D4224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027859" y="4467102"/>
            <a:ext cx="2655101" cy="1784667"/>
          </a:xfrm>
          <a:prstGeom prst="rect">
            <a:avLst/>
          </a:prstGeom>
        </p:spPr>
      </p:pic>
      <p:sp>
        <p:nvSpPr>
          <p:cNvPr id="16" name="Rechteck 15">
            <a:extLst>
              <a:ext uri="{FF2B5EF4-FFF2-40B4-BE49-F238E27FC236}">
                <a16:creationId xmlns:a16="http://schemas.microsoft.com/office/drawing/2014/main" id="{BEA6C38E-1631-1485-8A47-0DF502E27E42}"/>
              </a:ext>
            </a:extLst>
          </p:cNvPr>
          <p:cNvSpPr/>
          <p:nvPr/>
        </p:nvSpPr>
        <p:spPr>
          <a:xfrm>
            <a:off x="5807968" y="4098558"/>
            <a:ext cx="2228783" cy="338554"/>
          </a:xfrm>
          <a:prstGeom prst="rect">
            <a:avLst/>
          </a:prstGeom>
          <a:solidFill>
            <a:schemeClr val="bg1"/>
          </a:solidFill>
        </p:spPr>
        <p:txBody>
          <a:bodyPr wrap="square">
            <a:spAutoFit/>
          </a:bodyPr>
          <a:lstStyle/>
          <a:p>
            <a:r>
              <a:rPr lang="en-US" sz="800" dirty="0">
                <a:solidFill>
                  <a:srgbClr val="000000"/>
                </a:solidFill>
                <a:latin typeface="Univers"/>
              </a:rPr>
              <a:t>LIFE+ Network Danube: Fish pass at the </a:t>
            </a:r>
            <a:r>
              <a:rPr lang="en-US" sz="800" dirty="0" err="1">
                <a:solidFill>
                  <a:srgbClr val="000000"/>
                </a:solidFill>
                <a:latin typeface="Univers"/>
              </a:rPr>
              <a:t>Ottensheim-Wilhering</a:t>
            </a:r>
            <a:r>
              <a:rPr lang="en-US" sz="800" dirty="0">
                <a:solidFill>
                  <a:srgbClr val="000000"/>
                </a:solidFill>
                <a:latin typeface="Univers"/>
              </a:rPr>
              <a:t> power plant</a:t>
            </a:r>
            <a:endParaRPr lang="de-AT" sz="800" dirty="0">
              <a:solidFill>
                <a:srgbClr val="000000"/>
              </a:solidFill>
            </a:endParaRPr>
          </a:p>
        </p:txBody>
      </p:sp>
      <p:sp>
        <p:nvSpPr>
          <p:cNvPr id="17" name="Rechteck 16">
            <a:extLst>
              <a:ext uri="{FF2B5EF4-FFF2-40B4-BE49-F238E27FC236}">
                <a16:creationId xmlns:a16="http://schemas.microsoft.com/office/drawing/2014/main" id="{74A5E683-13AF-28E3-FC5C-FEF5E451C311}"/>
              </a:ext>
            </a:extLst>
          </p:cNvPr>
          <p:cNvSpPr/>
          <p:nvPr/>
        </p:nvSpPr>
        <p:spPr>
          <a:xfrm>
            <a:off x="9082599" y="4087761"/>
            <a:ext cx="2228783" cy="338554"/>
          </a:xfrm>
          <a:prstGeom prst="rect">
            <a:avLst/>
          </a:prstGeom>
          <a:solidFill>
            <a:schemeClr val="bg1"/>
          </a:solidFill>
        </p:spPr>
        <p:txBody>
          <a:bodyPr wrap="square">
            <a:spAutoFit/>
          </a:bodyPr>
          <a:lstStyle/>
          <a:p>
            <a:r>
              <a:rPr lang="en-US" sz="800" dirty="0">
                <a:solidFill>
                  <a:srgbClr val="000000"/>
                </a:solidFill>
                <a:latin typeface="Univers"/>
              </a:rPr>
              <a:t>LIFE+ Network Danube: Naturally designed section in the </a:t>
            </a:r>
            <a:r>
              <a:rPr lang="en-US" sz="800" dirty="0" err="1">
                <a:solidFill>
                  <a:srgbClr val="000000"/>
                </a:solidFill>
                <a:latin typeface="Univers"/>
              </a:rPr>
              <a:t>Aschach</a:t>
            </a:r>
            <a:endParaRPr lang="de-AT" sz="800" dirty="0">
              <a:solidFill>
                <a:srgbClr val="000000"/>
              </a:solidFill>
            </a:endParaRPr>
          </a:p>
        </p:txBody>
      </p:sp>
      <p:pic>
        <p:nvPicPr>
          <p:cNvPr id="18" name="Grafik 17">
            <a:extLst>
              <a:ext uri="{FF2B5EF4-FFF2-40B4-BE49-F238E27FC236}">
                <a16:creationId xmlns:a16="http://schemas.microsoft.com/office/drawing/2014/main" id="{E248CEEC-CA96-E97D-21C5-B4EB98DB7CE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68607" y="1861914"/>
            <a:ext cx="1813654" cy="2203458"/>
          </a:xfrm>
          <a:prstGeom prst="rect">
            <a:avLst/>
          </a:prstGeom>
          <a:ln>
            <a:solidFill>
              <a:schemeClr val="tx1"/>
            </a:solidFill>
          </a:ln>
        </p:spPr>
      </p:pic>
      <p:pic>
        <p:nvPicPr>
          <p:cNvPr id="19" name="Grafik 18">
            <a:extLst>
              <a:ext uri="{FF2B5EF4-FFF2-40B4-BE49-F238E27FC236}">
                <a16:creationId xmlns:a16="http://schemas.microsoft.com/office/drawing/2014/main" id="{849DDCC9-6E01-CAC6-4177-EBBE9D1ED5A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868606" y="990816"/>
            <a:ext cx="944119" cy="647993"/>
          </a:xfrm>
          <a:prstGeom prst="rect">
            <a:avLst/>
          </a:prstGeom>
        </p:spPr>
      </p:pic>
      <p:pic>
        <p:nvPicPr>
          <p:cNvPr id="20" name="Grafik 19">
            <a:extLst>
              <a:ext uri="{FF2B5EF4-FFF2-40B4-BE49-F238E27FC236}">
                <a16:creationId xmlns:a16="http://schemas.microsoft.com/office/drawing/2014/main" id="{79AA4F1C-1A33-64DF-0667-22CA8C812596}"/>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0855773" y="986973"/>
            <a:ext cx="911217" cy="651837"/>
          </a:xfrm>
          <a:prstGeom prst="rect">
            <a:avLst/>
          </a:prstGeom>
        </p:spPr>
      </p:pic>
    </p:spTree>
    <p:extLst>
      <p:ext uri="{BB962C8B-B14F-4D97-AF65-F5344CB8AC3E}">
        <p14:creationId xmlns:p14="http://schemas.microsoft.com/office/powerpoint/2010/main" val="1121480747"/>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8E921E5-AEB3-599A-0D78-667C1C94A4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81" imgH="381" progId="TCLayout.ActiveDocument.1">
                  <p:embed/>
                </p:oleObj>
              </mc:Choice>
              <mc:Fallback>
                <p:oleObj name="think-cell Folie" r:id="rId3" imgW="381" imgH="381" progId="TCLayout.ActiveDocument.1">
                  <p:embed/>
                  <p:pic>
                    <p:nvPicPr>
                      <p:cNvPr id="8" name="Objekt 7" hidden="1">
                        <a:extLst>
                          <a:ext uri="{FF2B5EF4-FFF2-40B4-BE49-F238E27FC236}">
                            <a16:creationId xmlns:a16="http://schemas.microsoft.com/office/drawing/2014/main" id="{48E921E5-AEB3-599A-0D78-667C1C94A4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EE481B63-42DD-1E48-F4DB-501C33F91F0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1200" cap="none" spc="0" normalizeH="0" baseline="0" noProof="0">
                <a:ln>
                  <a:noFill/>
                </a:ln>
                <a:solidFill>
                  <a:srgbClr val="00488E"/>
                </a:solidFill>
                <a:effectLst/>
                <a:uLnTx/>
                <a:uFillTx/>
                <a:latin typeface="Arial"/>
                <a:ea typeface="MS PGothic"/>
                <a:cs typeface="+mn-cs"/>
              </a:rPr>
              <a:t>Seite </a:t>
            </a:r>
            <a:fld id="{56C9A048-A28E-493E-A30E-F5A55EC874C9}" type="slidenum">
              <a:rPr kumimoji="0" lang="de-AT" sz="800" b="0" i="0" u="none" strike="noStrike" kern="1200" cap="none" spc="0" normalizeH="0" baseline="0" noProof="0" smtClean="0">
                <a:ln>
                  <a:noFill/>
                </a:ln>
                <a:solidFill>
                  <a:srgbClr val="00488E"/>
                </a:solidFill>
                <a:effectLst/>
                <a:uLnTx/>
                <a:uFillTx/>
                <a:latin typeface="Arial"/>
                <a:ea typeface="MS PGothic"/>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de-AT" sz="800" b="0" i="0" u="none" strike="noStrike" kern="1200" cap="none" spc="0" normalizeH="0" baseline="0" noProof="0" dirty="0">
              <a:ln>
                <a:noFill/>
              </a:ln>
              <a:solidFill>
                <a:srgbClr val="00488E"/>
              </a:solidFill>
              <a:effectLst/>
              <a:uLnTx/>
              <a:uFillTx/>
              <a:latin typeface="Arial"/>
              <a:ea typeface="MS PGothic"/>
              <a:cs typeface="+mn-cs"/>
            </a:endParaRPr>
          </a:p>
        </p:txBody>
      </p:sp>
      <p:sp>
        <p:nvSpPr>
          <p:cNvPr id="6" name="Titel 5">
            <a:extLst>
              <a:ext uri="{FF2B5EF4-FFF2-40B4-BE49-F238E27FC236}">
                <a16:creationId xmlns:a16="http://schemas.microsoft.com/office/drawing/2014/main" id="{9154AC43-53DF-32B1-0FAA-3821E36D6173}"/>
              </a:ext>
            </a:extLst>
          </p:cNvPr>
          <p:cNvSpPr>
            <a:spLocks noGrp="1"/>
          </p:cNvSpPr>
          <p:nvPr>
            <p:ph type="title"/>
          </p:nvPr>
        </p:nvSpPr>
        <p:spPr>
          <a:xfrm>
            <a:off x="218360" y="166509"/>
            <a:ext cx="11790138" cy="706311"/>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GB" dirty="0">
                <a:solidFill>
                  <a:schemeClr val="bg1"/>
                </a:solidFill>
              </a:rPr>
              <a:t>Summary</a:t>
            </a:r>
          </a:p>
        </p:txBody>
      </p:sp>
      <p:sp>
        <p:nvSpPr>
          <p:cNvPr id="29" name="Text Box 16"/>
          <p:cNvSpPr txBox="1">
            <a:spLocks noChangeArrowheads="1"/>
          </p:cNvSpPr>
          <p:nvPr/>
        </p:nvSpPr>
        <p:spPr bwMode="auto">
          <a:xfrm>
            <a:off x="494603" y="1143013"/>
            <a:ext cx="7641692" cy="4747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lnSpc>
                <a:spcPts val="2000"/>
              </a:lnSpc>
              <a:buClr>
                <a:srgbClr val="00488E"/>
              </a:buClr>
              <a:buChar char="•"/>
              <a:defRPr sz="1500">
                <a:solidFill>
                  <a:schemeClr val="tx1"/>
                </a:solidFill>
                <a:latin typeface="Arial" charset="0"/>
                <a:ea typeface="MS PGothic" pitchFamily="34" charset="-128"/>
              </a:defRPr>
            </a:lvl1pPr>
            <a:lvl2pPr marL="742950" indent="-285750" eaLnBrk="0" hangingPunct="0">
              <a:lnSpc>
                <a:spcPts val="2000"/>
              </a:lnSpc>
              <a:buChar char="•"/>
              <a:defRPr sz="1500">
                <a:solidFill>
                  <a:schemeClr val="tx1"/>
                </a:solidFill>
                <a:latin typeface="Arial" charset="0"/>
                <a:ea typeface="MS PGothic" pitchFamily="34" charset="-128"/>
              </a:defRPr>
            </a:lvl2pPr>
            <a:lvl3pPr marL="1143000" indent="-228600" eaLnBrk="0" hangingPunct="0">
              <a:lnSpc>
                <a:spcPts val="2000"/>
              </a:lnSpc>
              <a:buChar char="•"/>
              <a:defRPr sz="1500">
                <a:solidFill>
                  <a:schemeClr val="tx1"/>
                </a:solidFill>
                <a:latin typeface="Arial" charset="0"/>
                <a:ea typeface="MS PGothic" pitchFamily="34" charset="-128"/>
              </a:defRPr>
            </a:lvl3pPr>
            <a:lvl4pPr marL="1600200" indent="-228600" eaLnBrk="0" hangingPunct="0">
              <a:lnSpc>
                <a:spcPts val="1500"/>
              </a:lnSpc>
              <a:buChar char="–"/>
              <a:defRPr sz="1000">
                <a:solidFill>
                  <a:schemeClr val="bg2"/>
                </a:solidFill>
                <a:latin typeface="Arial" charset="0"/>
                <a:ea typeface="MS PGothic" pitchFamily="34" charset="-128"/>
              </a:defRPr>
            </a:lvl4pPr>
            <a:lvl5pPr marL="2057400" indent="-228600" eaLnBrk="0" hangingPunct="0">
              <a:lnSpc>
                <a:spcPts val="1500"/>
              </a:lnSpc>
              <a:buChar char="»"/>
              <a:defRPr sz="1000">
                <a:solidFill>
                  <a:schemeClr val="bg2"/>
                </a:solidFill>
                <a:latin typeface="Arial" charset="0"/>
                <a:ea typeface="MS PGothic" pitchFamily="34" charset="-128"/>
              </a:defRPr>
            </a:lvl5pPr>
            <a:lvl6pPr marL="25146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6pPr>
            <a:lvl7pPr marL="29718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7pPr>
            <a:lvl8pPr marL="34290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8pPr>
            <a:lvl9pPr marL="38862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9pPr>
          </a:lstStyle>
          <a:p>
            <a:pPr marL="285750" lvl="2" indent="-285750" defTabSz="1219140">
              <a:spcBef>
                <a:spcPts val="0"/>
              </a:spcBef>
              <a:spcAft>
                <a:spcPts val="600"/>
              </a:spcAft>
              <a:tabLst>
                <a:tab pos="950162" algn="l"/>
              </a:tabLst>
              <a:defRPr/>
            </a:pPr>
            <a:r>
              <a:rPr lang="en-US" sz="1400" dirty="0"/>
              <a:t>Actual generation from Hydropower within the European Union (EU) provide about 34% of the electricity generated from renewable energy sources and about 13% of the gross electricity generation</a:t>
            </a:r>
          </a:p>
          <a:p>
            <a:pPr marL="285750" lvl="2" indent="-285750" defTabSz="1219140">
              <a:spcBef>
                <a:spcPts val="0"/>
              </a:spcBef>
              <a:spcAft>
                <a:spcPts val="600"/>
              </a:spcAft>
              <a:tabLst>
                <a:tab pos="950162" algn="l"/>
              </a:tabLst>
              <a:defRPr/>
            </a:pPr>
            <a:r>
              <a:rPr lang="en-US" sz="1400" dirty="0"/>
              <a:t>Although the decarbonization of the European energy system will be mainly driven by development of Wind an PV capacities, hydropower will play a vital role also in the future:</a:t>
            </a:r>
          </a:p>
          <a:p>
            <a:pPr marL="742950" lvl="3" indent="-285750" defTabSz="1219140">
              <a:spcAft>
                <a:spcPts val="600"/>
              </a:spcAft>
              <a:tabLst>
                <a:tab pos="950162" algn="l"/>
              </a:tabLst>
              <a:defRPr/>
            </a:pPr>
            <a:r>
              <a:rPr lang="en-US" sz="1400" dirty="0">
                <a:solidFill>
                  <a:schemeClr val="tx1"/>
                </a:solidFill>
              </a:rPr>
              <a:t>Generating renewable and reliable energy by existing and new developed capacities</a:t>
            </a:r>
          </a:p>
          <a:p>
            <a:pPr marL="742950" lvl="3" indent="-285750" defTabSz="1219140">
              <a:spcAft>
                <a:spcPts val="600"/>
              </a:spcAft>
              <a:tabLst>
                <a:tab pos="950162" algn="l"/>
              </a:tabLst>
              <a:defRPr/>
            </a:pPr>
            <a:r>
              <a:rPr lang="en-US" sz="1400" dirty="0">
                <a:solidFill>
                  <a:schemeClr val="tx1"/>
                </a:solidFill>
              </a:rPr>
              <a:t>Providing dispatchable and firm capacities and supporting integration of Wind / PV into the system</a:t>
            </a:r>
          </a:p>
          <a:p>
            <a:pPr marL="742950" lvl="3" indent="-285750" defTabSz="1219140">
              <a:spcAft>
                <a:spcPts val="600"/>
              </a:spcAft>
              <a:tabLst>
                <a:tab pos="950162" algn="l"/>
              </a:tabLst>
              <a:defRPr/>
            </a:pPr>
            <a:r>
              <a:rPr lang="en-US" sz="1400" dirty="0">
                <a:solidFill>
                  <a:schemeClr val="tx1"/>
                </a:solidFill>
              </a:rPr>
              <a:t>Although the potential for greenfield projects in Europe is limited, there are additional potential for refurbishment and extension of existing schemes </a:t>
            </a:r>
          </a:p>
          <a:p>
            <a:pPr marL="285750" lvl="2" indent="-285750" defTabSz="1219140">
              <a:spcAft>
                <a:spcPts val="600"/>
              </a:spcAft>
              <a:tabLst>
                <a:tab pos="950162" algn="l"/>
              </a:tabLst>
              <a:defRPr/>
            </a:pPr>
            <a:r>
              <a:rPr lang="en-US" sz="1400" dirty="0"/>
              <a:t>What is needed for the further development of Hydropower in Danube Catchment:</a:t>
            </a:r>
          </a:p>
          <a:p>
            <a:pPr marL="742950" lvl="3" indent="-285750" defTabSz="1219140">
              <a:spcAft>
                <a:spcPts val="600"/>
              </a:spcAft>
              <a:tabLst>
                <a:tab pos="950162" algn="l"/>
              </a:tabLst>
              <a:defRPr/>
            </a:pPr>
            <a:r>
              <a:rPr lang="en-US" sz="1400" dirty="0">
                <a:solidFill>
                  <a:schemeClr val="tx1"/>
                </a:solidFill>
              </a:rPr>
              <a:t>Clear commitment to the performance of European hydropower (including pumped storage) as a renewable form of energy with multifunctional tasks and an important contribution to security of supply </a:t>
            </a:r>
          </a:p>
          <a:p>
            <a:pPr marL="742950" lvl="3" indent="-285750" defTabSz="1219140">
              <a:spcAft>
                <a:spcPts val="600"/>
              </a:spcAft>
              <a:tabLst>
                <a:tab pos="950162" algn="l"/>
              </a:tabLst>
              <a:defRPr/>
            </a:pPr>
            <a:r>
              <a:rPr lang="en-US" sz="1400" dirty="0">
                <a:solidFill>
                  <a:schemeClr val="tx1"/>
                </a:solidFill>
              </a:rPr>
              <a:t>Level playing field with other forms of renewable energy in all administrative and economic environment conditions (outstanding public interest, efficient approval procedures, subsidies…)</a:t>
            </a:r>
          </a:p>
          <a:p>
            <a:pPr marL="742950" lvl="3" indent="-285750" defTabSz="1219140">
              <a:spcAft>
                <a:spcPts val="600"/>
              </a:spcAft>
              <a:tabLst>
                <a:tab pos="950162" algn="l"/>
              </a:tabLst>
              <a:defRPr/>
            </a:pPr>
            <a:r>
              <a:rPr lang="en-US" sz="1400" dirty="0">
                <a:solidFill>
                  <a:schemeClr val="tx1"/>
                </a:solidFill>
              </a:rPr>
              <a:t>Balanced implementation of environmental targets and requirements (Water Framework Directive, Biodiversity Strategy…) </a:t>
            </a:r>
            <a:endParaRPr lang="en-GB" sz="1400" dirty="0">
              <a:solidFill>
                <a:schemeClr val="tx1"/>
              </a:solidFill>
            </a:endParaRPr>
          </a:p>
        </p:txBody>
      </p:sp>
      <p:pic>
        <p:nvPicPr>
          <p:cNvPr id="4" name="Grafik 3">
            <a:extLst>
              <a:ext uri="{FF2B5EF4-FFF2-40B4-BE49-F238E27FC236}">
                <a16:creationId xmlns:a16="http://schemas.microsoft.com/office/drawing/2014/main" id="{117F6B58-714B-6DF9-5D02-F440FFFA2BD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1"/>
          <a:stretch/>
        </p:blipFill>
        <p:spPr>
          <a:xfrm>
            <a:off x="8696415" y="1203285"/>
            <a:ext cx="2806686" cy="2043767"/>
          </a:xfrm>
          <a:prstGeom prst="rect">
            <a:avLst/>
          </a:prstGeom>
        </p:spPr>
      </p:pic>
      <p:pic>
        <p:nvPicPr>
          <p:cNvPr id="7" name="Grafik 6">
            <a:extLst>
              <a:ext uri="{FF2B5EF4-FFF2-40B4-BE49-F238E27FC236}">
                <a16:creationId xmlns:a16="http://schemas.microsoft.com/office/drawing/2014/main" id="{C1D2C388-5230-E3EC-4723-73A7226C8C5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690193" y="3577517"/>
            <a:ext cx="2806688" cy="2043768"/>
          </a:xfrm>
          <a:prstGeom prst="rect">
            <a:avLst/>
          </a:prstGeom>
        </p:spPr>
      </p:pic>
    </p:spTree>
    <p:extLst>
      <p:ext uri="{BB962C8B-B14F-4D97-AF65-F5344CB8AC3E}">
        <p14:creationId xmlns:p14="http://schemas.microsoft.com/office/powerpoint/2010/main" val="24483131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F92F457-F1F9-46B5-82A8-E4C056E9FA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a:extLst>
                          <a:ext uri="{FF2B5EF4-FFF2-40B4-BE49-F238E27FC236}">
                            <a16:creationId xmlns:a16="http://schemas.microsoft.com/office/drawing/2014/main" id="{6F92F457-F1F9-46B5-82A8-E4C056E9FA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Bildplatzhalter 6">
            <a:extLst>
              <a:ext uri="{FF2B5EF4-FFF2-40B4-BE49-F238E27FC236}">
                <a16:creationId xmlns:a16="http://schemas.microsoft.com/office/drawing/2014/main" id="{FAD75ADF-BF29-4E94-8F55-F5B29F82D747}"/>
              </a:ext>
            </a:extLst>
          </p:cNvPr>
          <p:cNvPicPr>
            <a:picLocks noGrp="1" noChangeAspect="1"/>
          </p:cNvPicPr>
          <p:nvPr>
            <p:ph type="pic" sz="quarter" idx="14"/>
          </p:nvPr>
        </p:nvPicPr>
        <p:blipFill rotWithShape="1">
          <a:blip r:embed="rId6" cstate="screen">
            <a:extLst>
              <a:ext uri="{28A0092B-C50C-407E-A947-70E740481C1C}">
                <a14:useLocalDpi xmlns:a14="http://schemas.microsoft.com/office/drawing/2010/main"/>
              </a:ext>
            </a:extLst>
          </a:blip>
          <a:srcRect/>
          <a:stretch/>
        </p:blipFill>
        <p:spPr>
          <a:xfrm>
            <a:off x="196850" y="188913"/>
            <a:ext cx="11798300" cy="6480175"/>
          </a:xfrm>
          <a:prstGeom prst="rect">
            <a:avLst/>
          </a:prstGeom>
        </p:spPr>
      </p:pic>
      <p:sp>
        <p:nvSpPr>
          <p:cNvPr id="3" name="Bildplatzhalter 2">
            <a:extLst>
              <a:ext uri="{FF2B5EF4-FFF2-40B4-BE49-F238E27FC236}">
                <a16:creationId xmlns:a16="http://schemas.microsoft.com/office/drawing/2014/main" id="{2F011467-851D-4B2B-BDA0-5D6B6C3672D5}"/>
              </a:ext>
            </a:extLst>
          </p:cNvPr>
          <p:cNvSpPr>
            <a:spLocks noGrp="1"/>
          </p:cNvSpPr>
          <p:nvPr>
            <p:ph type="pic" sz="quarter" idx="12"/>
          </p:nvPr>
        </p:nvSpPr>
        <p:spPr/>
      </p:sp>
      <p:sp>
        <p:nvSpPr>
          <p:cNvPr id="4" name="Bildplatzhalter 3">
            <a:extLst>
              <a:ext uri="{FF2B5EF4-FFF2-40B4-BE49-F238E27FC236}">
                <a16:creationId xmlns:a16="http://schemas.microsoft.com/office/drawing/2014/main" id="{99DC1B31-50CF-47C8-973C-470C87850AD5}"/>
              </a:ext>
            </a:extLst>
          </p:cNvPr>
          <p:cNvSpPr>
            <a:spLocks noGrp="1"/>
          </p:cNvSpPr>
          <p:nvPr>
            <p:ph type="pic" sz="quarter" idx="13"/>
          </p:nvPr>
        </p:nvSpPr>
        <p:spPr/>
      </p:sp>
      <p:sp>
        <p:nvSpPr>
          <p:cNvPr id="9" name="Titel 2">
            <a:extLst>
              <a:ext uri="{FF2B5EF4-FFF2-40B4-BE49-F238E27FC236}">
                <a16:creationId xmlns:a16="http://schemas.microsoft.com/office/drawing/2014/main" id="{34D75DB8-6F7C-48B9-9BDB-1F869750894B}"/>
              </a:ext>
            </a:extLst>
          </p:cNvPr>
          <p:cNvSpPr>
            <a:spLocks noGrp="1"/>
          </p:cNvSpPr>
          <p:nvPr>
            <p:ph type="title"/>
          </p:nvPr>
        </p:nvSpPr>
        <p:spPr>
          <a:xfrm>
            <a:off x="196982" y="188913"/>
            <a:ext cx="5808531" cy="706311"/>
          </a:xfrm>
        </p:spPr>
        <p:txBody>
          <a:bodyPr vert="horz"/>
          <a:lstStyle/>
          <a:p>
            <a:pPr algn="l" rtl="0"/>
            <a:r>
              <a:rPr lang="en-gb" b="0" i="0" u="none" baseline="0"/>
              <a:t>The power of transition</a:t>
            </a:r>
          </a:p>
        </p:txBody>
      </p:sp>
    </p:spTree>
    <p:extLst>
      <p:ext uri="{BB962C8B-B14F-4D97-AF65-F5344CB8AC3E}">
        <p14:creationId xmlns:p14="http://schemas.microsoft.com/office/powerpoint/2010/main" val="4143638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842DD0C-BCB5-4608-AD5B-CEC4D4508B6E}"/>
              </a:ext>
            </a:extLst>
          </p:cNvPr>
          <p:cNvGraphicFramePr>
            <a:graphicFrameLocks noChangeAspect="1"/>
          </p:cNvGraphicFramePr>
          <p:nvPr>
            <p:custDataLst>
              <p:tags r:id="rId1"/>
            </p:custDataLst>
            <p:extLst>
              <p:ext uri="{D42A27DB-BD31-4B8C-83A1-F6EECF244321}">
                <p14:modId xmlns:p14="http://schemas.microsoft.com/office/powerpoint/2010/main" val="389202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8" imgW="306" imgH="306" progId="TCLayout.ActiveDocument.1">
                  <p:embed/>
                </p:oleObj>
              </mc:Choice>
              <mc:Fallback>
                <p:oleObj name="think-cell Folie" r:id="rId48" imgW="306" imgH="306" progId="TCLayout.ActiveDocument.1">
                  <p:embed/>
                  <p:pic>
                    <p:nvPicPr>
                      <p:cNvPr id="8" name="Objekt 7" hidden="1">
                        <a:extLst>
                          <a:ext uri="{FF2B5EF4-FFF2-40B4-BE49-F238E27FC236}">
                            <a16:creationId xmlns:a16="http://schemas.microsoft.com/office/drawing/2014/main" id="{0842DD0C-BCB5-4608-AD5B-CEC4D4508B6E}"/>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185" name="Rechteck 184">
            <a:extLst>
              <a:ext uri="{FF2B5EF4-FFF2-40B4-BE49-F238E27FC236}">
                <a16:creationId xmlns:a16="http://schemas.microsoft.com/office/drawing/2014/main" id="{4750C1A7-8CA1-7056-E5E7-42764772A28F}"/>
              </a:ext>
            </a:extLst>
          </p:cNvPr>
          <p:cNvSpPr>
            <a:spLocks noGrp="1" noRot="1" noMove="1" noResize="1" noEditPoints="1" noAdjustHandles="1" noChangeArrowheads="1" noChangeShapeType="1"/>
          </p:cNvSpPr>
          <p:nvPr/>
        </p:nvSpPr>
        <p:spPr bwMode="auto">
          <a:xfrm>
            <a:off x="196982" y="4500957"/>
            <a:ext cx="1532234" cy="2191575"/>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24" name="Rechteck 223">
            <a:extLst>
              <a:ext uri="{FF2B5EF4-FFF2-40B4-BE49-F238E27FC236}">
                <a16:creationId xmlns:a16="http://schemas.microsoft.com/office/drawing/2014/main" id="{70A578FC-9F3B-D9F8-B753-862EF39C73FE}"/>
              </a:ext>
            </a:extLst>
          </p:cNvPr>
          <p:cNvSpPr>
            <a:spLocks noGrp="1" noRot="1" noMove="1" noResize="1" noEditPoints="1" noAdjustHandles="1" noChangeArrowheads="1" noChangeShapeType="1"/>
          </p:cNvSpPr>
          <p:nvPr/>
        </p:nvSpPr>
        <p:spPr bwMode="auto">
          <a:xfrm>
            <a:off x="1909216" y="4500957"/>
            <a:ext cx="1532234" cy="2191575"/>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51" name="Rechteck 250">
            <a:extLst>
              <a:ext uri="{FF2B5EF4-FFF2-40B4-BE49-F238E27FC236}">
                <a16:creationId xmlns:a16="http://schemas.microsoft.com/office/drawing/2014/main" id="{C8B57213-6722-0D0D-D2CE-3F2C3263E310}"/>
              </a:ext>
            </a:extLst>
          </p:cNvPr>
          <p:cNvSpPr>
            <a:spLocks noGrp="1" noRot="1" noMove="1" noResize="1" noEditPoints="1" noAdjustHandles="1" noChangeArrowheads="1" noChangeShapeType="1"/>
          </p:cNvSpPr>
          <p:nvPr/>
        </p:nvSpPr>
        <p:spPr bwMode="auto">
          <a:xfrm>
            <a:off x="3621450" y="4500957"/>
            <a:ext cx="1532234" cy="2191575"/>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55" name="Rechteck 254">
            <a:extLst>
              <a:ext uri="{FF2B5EF4-FFF2-40B4-BE49-F238E27FC236}">
                <a16:creationId xmlns:a16="http://schemas.microsoft.com/office/drawing/2014/main" id="{90ACD01C-9F6E-E9EA-7292-EBA6FECCDB25}"/>
              </a:ext>
            </a:extLst>
          </p:cNvPr>
          <p:cNvSpPr>
            <a:spLocks noGrp="1" noRot="1" noMove="1" noResize="1" noEditPoints="1" noAdjustHandles="1" noChangeArrowheads="1" noChangeShapeType="1"/>
          </p:cNvSpPr>
          <p:nvPr/>
        </p:nvSpPr>
        <p:spPr bwMode="auto">
          <a:xfrm>
            <a:off x="5333684" y="4500957"/>
            <a:ext cx="1532234" cy="2191575"/>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59" name="Rechteck 258">
            <a:extLst>
              <a:ext uri="{FF2B5EF4-FFF2-40B4-BE49-F238E27FC236}">
                <a16:creationId xmlns:a16="http://schemas.microsoft.com/office/drawing/2014/main" id="{252A9409-ECAC-5F3B-DE0D-C15B7D2F724F}"/>
              </a:ext>
            </a:extLst>
          </p:cNvPr>
          <p:cNvSpPr>
            <a:spLocks noGrp="1" noRot="1" noMove="1" noResize="1" noEditPoints="1" noAdjustHandles="1" noChangeArrowheads="1" noChangeShapeType="1"/>
          </p:cNvSpPr>
          <p:nvPr/>
        </p:nvSpPr>
        <p:spPr bwMode="auto">
          <a:xfrm>
            <a:off x="7045918" y="4500957"/>
            <a:ext cx="1532234" cy="2191575"/>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63" name="Rechteck 262">
            <a:extLst>
              <a:ext uri="{FF2B5EF4-FFF2-40B4-BE49-F238E27FC236}">
                <a16:creationId xmlns:a16="http://schemas.microsoft.com/office/drawing/2014/main" id="{27733A10-9F38-95E2-838D-AE63AD44A57E}"/>
              </a:ext>
            </a:extLst>
          </p:cNvPr>
          <p:cNvSpPr>
            <a:spLocks noGrp="1" noRot="1" noMove="1" noResize="1" noEditPoints="1" noAdjustHandles="1" noChangeArrowheads="1" noChangeShapeType="1"/>
          </p:cNvSpPr>
          <p:nvPr/>
        </p:nvSpPr>
        <p:spPr bwMode="auto">
          <a:xfrm>
            <a:off x="8758152" y="4500957"/>
            <a:ext cx="1532234" cy="2191575"/>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67" name="Rechteck 266">
            <a:extLst>
              <a:ext uri="{FF2B5EF4-FFF2-40B4-BE49-F238E27FC236}">
                <a16:creationId xmlns:a16="http://schemas.microsoft.com/office/drawing/2014/main" id="{C2A89840-29DB-AA45-079B-8B785C5AB5D0}"/>
              </a:ext>
            </a:extLst>
          </p:cNvPr>
          <p:cNvSpPr>
            <a:spLocks noGrp="1" noRot="1" noMove="1" noResize="1" noEditPoints="1" noAdjustHandles="1" noChangeArrowheads="1" noChangeShapeType="1"/>
          </p:cNvSpPr>
          <p:nvPr/>
        </p:nvSpPr>
        <p:spPr bwMode="auto">
          <a:xfrm>
            <a:off x="10470387" y="4500957"/>
            <a:ext cx="1532234" cy="2191575"/>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3" name="Foliennummernplatzhalter 2">
            <a:extLst>
              <a:ext uri="{FF2B5EF4-FFF2-40B4-BE49-F238E27FC236}">
                <a16:creationId xmlns:a16="http://schemas.microsoft.com/office/drawing/2014/main" id="{3752D35C-F503-4C42-82A1-57CD36F9648F}"/>
              </a:ext>
            </a:extLst>
          </p:cNvPr>
          <p:cNvSpPr>
            <a:spLocks noGrp="1"/>
          </p:cNvSpPr>
          <p:nvPr>
            <p:ph type="sldNum" sz="quarter" idx="16"/>
          </p:nvPr>
        </p:nvSpPr>
        <p:spPr>
          <a:xfrm>
            <a:off x="11491910" y="6365922"/>
            <a:ext cx="328615" cy="123111"/>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dirty="0">
                <a:ln>
                  <a:noFill/>
                </a:ln>
                <a:solidFill>
                  <a:srgbClr val="00488E"/>
                </a:solidFill>
                <a:effectLst/>
                <a:uLnTx/>
                <a:uFillTx/>
                <a:latin typeface="Arial"/>
                <a:ea typeface="MS PGothic"/>
                <a:cs typeface="+mn-cs"/>
              </a:rPr>
              <a:t>Page </a:t>
            </a:r>
            <a:fld id="{56C9A048-A28E-493E-A30E-F5A55EC874C9}" type="slidenum">
              <a:rPr kumimoji="0" sz="800" b="0" i="0" u="none" strike="noStrike" kern="1200" cap="none" spc="0" normalizeH="0" baseline="0">
                <a:ln>
                  <a:noFill/>
                </a:ln>
                <a:solidFill>
                  <a:srgbClr val="00488E"/>
                </a:solidFill>
                <a:effectLst/>
                <a:uLnTx/>
                <a:uFillTx/>
                <a:latin typeface="Arial"/>
                <a:ea typeface="MS PGothic"/>
                <a:cs typeface="+mn-cs"/>
              </a:rPr>
              <a:pPr marL="0" marR="0" lvl="0" indent="0" algn="r" defTabSz="914400" rtl="0" eaLnBrk="0" fontAlgn="base" latinLnBrk="0" hangingPunct="0">
                <a:lnSpc>
                  <a:spcPct val="100000"/>
                </a:lnSpc>
                <a:spcBef>
                  <a:spcPct val="0"/>
                </a:spcBef>
                <a:spcAft>
                  <a:spcPct val="0"/>
                </a:spcAft>
                <a:buClrTx/>
                <a:buSzTx/>
                <a:buFontTx/>
                <a:buNone/>
                <a:tabLst/>
                <a:defRPr/>
              </a:pPr>
              <a:t>2</a:t>
            </a:fld>
            <a:endParaRPr kumimoji="0" lang="en-gb" sz="800" b="0" i="0" u="none" strike="noStrike" kern="1200" cap="none" spc="0" normalizeH="0" baseline="0" noProof="0" dirty="0">
              <a:ln>
                <a:noFill/>
              </a:ln>
              <a:solidFill>
                <a:srgbClr val="00488E"/>
              </a:solidFill>
              <a:effectLst/>
              <a:uLnTx/>
              <a:uFillTx/>
              <a:latin typeface="Arial"/>
              <a:ea typeface="MS PGothic"/>
              <a:cs typeface="+mn-cs"/>
            </a:endParaRPr>
          </a:p>
        </p:txBody>
      </p:sp>
      <p:sp>
        <p:nvSpPr>
          <p:cNvPr id="5" name="Titel 4">
            <a:extLst>
              <a:ext uri="{FF2B5EF4-FFF2-40B4-BE49-F238E27FC236}">
                <a16:creationId xmlns:a16="http://schemas.microsoft.com/office/drawing/2014/main" id="{8FA4E1CF-A5EF-4F31-8AE3-BD486C5483B2}"/>
              </a:ext>
            </a:extLst>
          </p:cNvPr>
          <p:cNvSpPr>
            <a:spLocks noGrp="1"/>
          </p:cNvSpPr>
          <p:nvPr>
            <p:ph type="title"/>
          </p:nvPr>
        </p:nvSpPr>
        <p:spPr>
          <a:xfrm>
            <a:off x="196982" y="188913"/>
            <a:ext cx="11805639" cy="649729"/>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pPr algn="l" rtl="0"/>
            <a:r>
              <a:rPr lang="en-gb" b="0" i="0" u="none" baseline="0">
                <a:solidFill>
                  <a:schemeClr val="bg1"/>
                </a:solidFill>
              </a:rPr>
              <a:t>VERBUND at a glance</a:t>
            </a:r>
          </a:p>
        </p:txBody>
      </p:sp>
      <p:sp>
        <p:nvSpPr>
          <p:cNvPr id="240" name="Grafik 46">
            <a:extLst>
              <a:ext uri="{FF2B5EF4-FFF2-40B4-BE49-F238E27FC236}">
                <a16:creationId xmlns:a16="http://schemas.microsoft.com/office/drawing/2014/main" id="{001F70D3-85DC-46FA-B8B8-E57CD57A2941}"/>
              </a:ext>
            </a:extLst>
          </p:cNvPr>
          <p:cNvSpPr>
            <a:spLocks noChangeAspect="1"/>
          </p:cNvSpPr>
          <p:nvPr/>
        </p:nvSpPr>
        <p:spPr>
          <a:xfrm>
            <a:off x="371475" y="6289735"/>
            <a:ext cx="197073" cy="199965"/>
          </a:xfrm>
          <a:custGeom>
            <a:avLst/>
            <a:gdLst>
              <a:gd name="connsiteX0" fmla="*/ 1001363 w 1596580"/>
              <a:gd name="connsiteY0" fmla="*/ 1620012 h 1620012"/>
              <a:gd name="connsiteX1" fmla="*/ 1022128 w 1596580"/>
              <a:gd name="connsiteY1" fmla="*/ 1564767 h 1620012"/>
              <a:gd name="connsiteX2" fmla="*/ 1306354 w 1596580"/>
              <a:gd name="connsiteY2" fmla="*/ 832771 h 1620012"/>
              <a:gd name="connsiteX3" fmla="*/ 1573054 w 1596580"/>
              <a:gd name="connsiteY3" fmla="*/ 65913 h 1620012"/>
              <a:gd name="connsiteX4" fmla="*/ 1596581 w 1596580"/>
              <a:gd name="connsiteY4" fmla="*/ 0 h 1620012"/>
              <a:gd name="connsiteX5" fmla="*/ 1221867 w 1596580"/>
              <a:gd name="connsiteY5" fmla="*/ 0 h 1620012"/>
              <a:gd name="connsiteX6" fmla="*/ 891540 w 1596580"/>
              <a:gd name="connsiteY6" fmla="*/ 947642 h 1620012"/>
              <a:gd name="connsiteX7" fmla="*/ 805053 w 1596580"/>
              <a:gd name="connsiteY7" fmla="*/ 1269587 h 1620012"/>
              <a:gd name="connsiteX8" fmla="*/ 790575 w 1596580"/>
              <a:gd name="connsiteY8" fmla="*/ 1269587 h 1620012"/>
              <a:gd name="connsiteX9" fmla="*/ 703898 w 1596580"/>
              <a:gd name="connsiteY9" fmla="*/ 947642 h 1620012"/>
              <a:gd name="connsiteX10" fmla="*/ 374047 w 1596580"/>
              <a:gd name="connsiteY10" fmla="*/ 0 h 1620012"/>
              <a:gd name="connsiteX11" fmla="*/ 0 w 1596580"/>
              <a:gd name="connsiteY11" fmla="*/ 0 h 1620012"/>
              <a:gd name="connsiteX12" fmla="*/ 21622 w 1596580"/>
              <a:gd name="connsiteY12" fmla="*/ 65913 h 1620012"/>
              <a:gd name="connsiteX13" fmla="*/ 289560 w 1596580"/>
              <a:gd name="connsiteY13" fmla="*/ 832771 h 1620012"/>
              <a:gd name="connsiteX14" fmla="*/ 573786 w 1596580"/>
              <a:gd name="connsiteY14" fmla="*/ 1564767 h 1620012"/>
              <a:gd name="connsiteX15" fmla="*/ 594741 w 1596580"/>
              <a:gd name="connsiteY15" fmla="*/ 1620012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6580" h="1620012">
                <a:moveTo>
                  <a:pt x="1001363" y="1620012"/>
                </a:moveTo>
                <a:lnTo>
                  <a:pt x="1022128" y="1564767"/>
                </a:lnTo>
                <a:cubicBezTo>
                  <a:pt x="1136428" y="1288542"/>
                  <a:pt x="1202531" y="1116330"/>
                  <a:pt x="1306354" y="832771"/>
                </a:cubicBezTo>
                <a:cubicBezTo>
                  <a:pt x="1414367" y="541877"/>
                  <a:pt x="1477804" y="356521"/>
                  <a:pt x="1573054" y="65913"/>
                </a:cubicBezTo>
                <a:lnTo>
                  <a:pt x="1596581" y="0"/>
                </a:lnTo>
                <a:lnTo>
                  <a:pt x="1221867" y="0"/>
                </a:lnTo>
                <a:lnTo>
                  <a:pt x="891540" y="947642"/>
                </a:lnTo>
                <a:cubicBezTo>
                  <a:pt x="839153" y="1103090"/>
                  <a:pt x="834390" y="1120712"/>
                  <a:pt x="805053" y="1269587"/>
                </a:cubicBezTo>
                <a:lnTo>
                  <a:pt x="790575" y="1269587"/>
                </a:lnTo>
                <a:cubicBezTo>
                  <a:pt x="760762" y="1120712"/>
                  <a:pt x="756761" y="1103090"/>
                  <a:pt x="703898" y="947642"/>
                </a:cubicBezTo>
                <a:lnTo>
                  <a:pt x="374047" y="0"/>
                </a:lnTo>
                <a:lnTo>
                  <a:pt x="0" y="0"/>
                </a:lnTo>
                <a:lnTo>
                  <a:pt x="21622" y="65913"/>
                </a:lnTo>
                <a:cubicBezTo>
                  <a:pt x="117443" y="356616"/>
                  <a:pt x="181832" y="542163"/>
                  <a:pt x="289560" y="832771"/>
                </a:cubicBezTo>
                <a:cubicBezTo>
                  <a:pt x="393001" y="1116330"/>
                  <a:pt x="459010" y="1288256"/>
                  <a:pt x="573786" y="1564767"/>
                </a:cubicBezTo>
                <a:lnTo>
                  <a:pt x="594741" y="1620012"/>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232" name="Rechteck 231">
            <a:extLst>
              <a:ext uri="{FF2B5EF4-FFF2-40B4-BE49-F238E27FC236}">
                <a16:creationId xmlns:a16="http://schemas.microsoft.com/office/drawing/2014/main" id="{0EA1A14A-63F2-41E1-9EA2-6A4FA84CB51B}"/>
              </a:ext>
            </a:extLst>
          </p:cNvPr>
          <p:cNvSpPr>
            <a:spLocks noGrp="1" noRot="1" noMove="1" noResize="1" noEditPoints="1" noAdjustHandles="1" noChangeArrowheads="1" noChangeShapeType="1"/>
          </p:cNvSpPr>
          <p:nvPr/>
        </p:nvSpPr>
        <p:spPr bwMode="auto">
          <a:xfrm>
            <a:off x="196982" y="1018642"/>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184" name="Rechteck 183">
            <a:extLst>
              <a:ext uri="{FF2B5EF4-FFF2-40B4-BE49-F238E27FC236}">
                <a16:creationId xmlns:a16="http://schemas.microsoft.com/office/drawing/2014/main" id="{6488BD3E-D836-049D-94EC-22AF9B634386}"/>
              </a:ext>
            </a:extLst>
          </p:cNvPr>
          <p:cNvSpPr>
            <a:spLocks noGrp="1" noRot="1" noMove="1" noResize="1" noEditPoints="1" noAdjustHandles="1" noChangeArrowheads="1" noChangeShapeType="1"/>
          </p:cNvSpPr>
          <p:nvPr/>
        </p:nvSpPr>
        <p:spPr bwMode="auto">
          <a:xfrm>
            <a:off x="196982" y="2759800"/>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188" name="Rechteck 187">
            <a:extLst>
              <a:ext uri="{FF2B5EF4-FFF2-40B4-BE49-F238E27FC236}">
                <a16:creationId xmlns:a16="http://schemas.microsoft.com/office/drawing/2014/main" id="{ED8EDE84-0ACF-74A1-8B2F-0DFCDD3F4C90}"/>
              </a:ext>
            </a:extLst>
          </p:cNvPr>
          <p:cNvSpPr>
            <a:spLocks noGrp="1" noRot="1" noMove="1" noResize="1" noEditPoints="1" noAdjustHandles="1" noChangeArrowheads="1" noChangeShapeType="1"/>
          </p:cNvSpPr>
          <p:nvPr/>
        </p:nvSpPr>
        <p:spPr bwMode="auto">
          <a:xfrm>
            <a:off x="1909216" y="1018642"/>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23" name="Rechteck 222">
            <a:extLst>
              <a:ext uri="{FF2B5EF4-FFF2-40B4-BE49-F238E27FC236}">
                <a16:creationId xmlns:a16="http://schemas.microsoft.com/office/drawing/2014/main" id="{597D99AA-FC86-41AE-A9C1-F606F78B2758}"/>
              </a:ext>
            </a:extLst>
          </p:cNvPr>
          <p:cNvSpPr>
            <a:spLocks noGrp="1" noRot="1" noMove="1" noResize="1" noEditPoints="1" noAdjustHandles="1" noChangeArrowheads="1" noChangeShapeType="1"/>
          </p:cNvSpPr>
          <p:nvPr/>
        </p:nvSpPr>
        <p:spPr bwMode="auto">
          <a:xfrm>
            <a:off x="1909216" y="2759800"/>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49" name="Rechteck 248">
            <a:extLst>
              <a:ext uri="{FF2B5EF4-FFF2-40B4-BE49-F238E27FC236}">
                <a16:creationId xmlns:a16="http://schemas.microsoft.com/office/drawing/2014/main" id="{4CDB9DDD-28D6-16D8-071B-8894B9FA1A30}"/>
              </a:ext>
            </a:extLst>
          </p:cNvPr>
          <p:cNvSpPr>
            <a:spLocks noGrp="1" noRot="1" noMove="1" noResize="1" noEditPoints="1" noAdjustHandles="1" noChangeArrowheads="1" noChangeShapeType="1"/>
          </p:cNvSpPr>
          <p:nvPr/>
        </p:nvSpPr>
        <p:spPr bwMode="auto">
          <a:xfrm>
            <a:off x="3621450" y="1018642"/>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50" name="Rechteck 249">
            <a:extLst>
              <a:ext uri="{FF2B5EF4-FFF2-40B4-BE49-F238E27FC236}">
                <a16:creationId xmlns:a16="http://schemas.microsoft.com/office/drawing/2014/main" id="{CE418BE3-9A55-0B26-C77E-2CEA1DE5CAF7}"/>
              </a:ext>
            </a:extLst>
          </p:cNvPr>
          <p:cNvSpPr>
            <a:spLocks noGrp="1" noRot="1" noMove="1" noResize="1" noEditPoints="1" noAdjustHandles="1" noChangeArrowheads="1" noChangeShapeType="1"/>
          </p:cNvSpPr>
          <p:nvPr/>
        </p:nvSpPr>
        <p:spPr bwMode="auto">
          <a:xfrm>
            <a:off x="3621450" y="2759800"/>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53" name="Rechteck 252">
            <a:extLst>
              <a:ext uri="{FF2B5EF4-FFF2-40B4-BE49-F238E27FC236}">
                <a16:creationId xmlns:a16="http://schemas.microsoft.com/office/drawing/2014/main" id="{1485DE22-9DB2-37A9-9BA6-ECDBAD8901EB}"/>
              </a:ext>
            </a:extLst>
          </p:cNvPr>
          <p:cNvSpPr>
            <a:spLocks noGrp="1" noRot="1" noMove="1" noResize="1" noEditPoints="1" noAdjustHandles="1" noChangeArrowheads="1" noChangeShapeType="1"/>
          </p:cNvSpPr>
          <p:nvPr/>
        </p:nvSpPr>
        <p:spPr bwMode="auto">
          <a:xfrm>
            <a:off x="5333684" y="1018642"/>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54" name="Rechteck 253">
            <a:extLst>
              <a:ext uri="{FF2B5EF4-FFF2-40B4-BE49-F238E27FC236}">
                <a16:creationId xmlns:a16="http://schemas.microsoft.com/office/drawing/2014/main" id="{7911EE9E-2D47-D284-1FB5-3836B0EC28E8}"/>
              </a:ext>
            </a:extLst>
          </p:cNvPr>
          <p:cNvSpPr>
            <a:spLocks noGrp="1" noRot="1" noMove="1" noResize="1" noEditPoints="1" noAdjustHandles="1" noChangeArrowheads="1" noChangeShapeType="1"/>
          </p:cNvSpPr>
          <p:nvPr/>
        </p:nvSpPr>
        <p:spPr bwMode="auto">
          <a:xfrm>
            <a:off x="5333684" y="2759800"/>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57" name="Rechteck 256">
            <a:extLst>
              <a:ext uri="{FF2B5EF4-FFF2-40B4-BE49-F238E27FC236}">
                <a16:creationId xmlns:a16="http://schemas.microsoft.com/office/drawing/2014/main" id="{CF14229C-4F9D-C02F-CFBE-7317C30A796A}"/>
              </a:ext>
            </a:extLst>
          </p:cNvPr>
          <p:cNvSpPr>
            <a:spLocks noGrp="1" noRot="1" noMove="1" noResize="1" noEditPoints="1" noAdjustHandles="1" noChangeArrowheads="1" noChangeShapeType="1"/>
          </p:cNvSpPr>
          <p:nvPr/>
        </p:nvSpPr>
        <p:spPr bwMode="auto">
          <a:xfrm>
            <a:off x="7045918" y="1018642"/>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58" name="Rechteck 257">
            <a:extLst>
              <a:ext uri="{FF2B5EF4-FFF2-40B4-BE49-F238E27FC236}">
                <a16:creationId xmlns:a16="http://schemas.microsoft.com/office/drawing/2014/main" id="{9732D440-18CC-CD5E-9CAD-9AEE1916D5E7}"/>
              </a:ext>
            </a:extLst>
          </p:cNvPr>
          <p:cNvSpPr>
            <a:spLocks noGrp="1" noRot="1" noMove="1" noResize="1" noEditPoints="1" noAdjustHandles="1" noChangeArrowheads="1" noChangeShapeType="1"/>
          </p:cNvSpPr>
          <p:nvPr/>
        </p:nvSpPr>
        <p:spPr bwMode="auto">
          <a:xfrm>
            <a:off x="7045918" y="2759800"/>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61" name="Rechteck 260">
            <a:extLst>
              <a:ext uri="{FF2B5EF4-FFF2-40B4-BE49-F238E27FC236}">
                <a16:creationId xmlns:a16="http://schemas.microsoft.com/office/drawing/2014/main" id="{D156CC24-A5C9-5228-06EF-31F80DB6E32C}"/>
              </a:ext>
            </a:extLst>
          </p:cNvPr>
          <p:cNvSpPr>
            <a:spLocks noGrp="1" noRot="1" noMove="1" noResize="1" noEditPoints="1" noAdjustHandles="1" noChangeArrowheads="1" noChangeShapeType="1"/>
          </p:cNvSpPr>
          <p:nvPr/>
        </p:nvSpPr>
        <p:spPr bwMode="auto">
          <a:xfrm>
            <a:off x="8758152" y="1018642"/>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62" name="Rechteck 261">
            <a:extLst>
              <a:ext uri="{FF2B5EF4-FFF2-40B4-BE49-F238E27FC236}">
                <a16:creationId xmlns:a16="http://schemas.microsoft.com/office/drawing/2014/main" id="{EA236301-58BC-7653-DF06-8663515570F8}"/>
              </a:ext>
            </a:extLst>
          </p:cNvPr>
          <p:cNvSpPr>
            <a:spLocks noGrp="1" noRot="1" noMove="1" noResize="1" noEditPoints="1" noAdjustHandles="1" noChangeArrowheads="1" noChangeShapeType="1"/>
          </p:cNvSpPr>
          <p:nvPr/>
        </p:nvSpPr>
        <p:spPr bwMode="auto">
          <a:xfrm>
            <a:off x="8758152" y="2759800"/>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65" name="Rechteck 264">
            <a:extLst>
              <a:ext uri="{FF2B5EF4-FFF2-40B4-BE49-F238E27FC236}">
                <a16:creationId xmlns:a16="http://schemas.microsoft.com/office/drawing/2014/main" id="{FC8253D5-5CDE-ED26-49E3-C79E3A00459C}"/>
              </a:ext>
            </a:extLst>
          </p:cNvPr>
          <p:cNvSpPr>
            <a:spLocks noGrp="1" noRot="1" noMove="1" noResize="1" noEditPoints="1" noAdjustHandles="1" noChangeArrowheads="1" noChangeShapeType="1"/>
          </p:cNvSpPr>
          <p:nvPr/>
        </p:nvSpPr>
        <p:spPr bwMode="auto">
          <a:xfrm>
            <a:off x="10470387" y="1018642"/>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66" name="Rechteck 265">
            <a:extLst>
              <a:ext uri="{FF2B5EF4-FFF2-40B4-BE49-F238E27FC236}">
                <a16:creationId xmlns:a16="http://schemas.microsoft.com/office/drawing/2014/main" id="{710D22DB-B8D9-B9AC-0FF6-39F96F414233}"/>
              </a:ext>
            </a:extLst>
          </p:cNvPr>
          <p:cNvSpPr>
            <a:spLocks noGrp="1" noRot="1" noMove="1" noResize="1" noEditPoints="1" noAdjustHandles="1" noChangeArrowheads="1" noChangeShapeType="1"/>
          </p:cNvSpPr>
          <p:nvPr/>
        </p:nvSpPr>
        <p:spPr bwMode="auto">
          <a:xfrm>
            <a:off x="10470387" y="2759800"/>
            <a:ext cx="1532234" cy="1561158"/>
          </a:xfrm>
          <a:prstGeom prst="rect">
            <a:avLst/>
          </a:prstGeom>
          <a:solidFill>
            <a:schemeClr val="bg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err="1">
              <a:ln>
                <a:noFill/>
              </a:ln>
              <a:solidFill>
                <a:srgbClr val="575756"/>
              </a:solidFill>
              <a:effectLst/>
              <a:uLnTx/>
              <a:uFillTx/>
              <a:latin typeface="Arial" charset="0"/>
              <a:ea typeface="MS PGothic" pitchFamily="34" charset="-128"/>
              <a:cs typeface="+mn-cs"/>
            </a:endParaRPr>
          </a:p>
        </p:txBody>
      </p:sp>
      <p:sp>
        <p:nvSpPr>
          <p:cNvPr id="289" name="Rechteck 288">
            <a:extLst>
              <a:ext uri="{FF2B5EF4-FFF2-40B4-BE49-F238E27FC236}">
                <a16:creationId xmlns:a16="http://schemas.microsoft.com/office/drawing/2014/main" id="{C0F4E966-5FB0-69F6-1BC4-842A129B6D9D}"/>
              </a:ext>
            </a:extLst>
          </p:cNvPr>
          <p:cNvSpPr/>
          <p:nvPr/>
        </p:nvSpPr>
        <p:spPr>
          <a:xfrm>
            <a:off x="5442570" y="1764103"/>
            <a:ext cx="1314462" cy="718145"/>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
                <a:srgbClr val="00488E"/>
              </a:buClr>
              <a:buSzTx/>
              <a:buFontTx/>
              <a:buNone/>
              <a:tabLst/>
              <a:defRPr/>
            </a:pPr>
            <a:r>
              <a:rPr kumimoji="0" lang="en-gb" sz="1000" b="0" i="0" u="none" strike="noStrike" kern="1200" cap="none" spc="0" normalizeH="0" baseline="0">
                <a:ln>
                  <a:noFill/>
                </a:ln>
                <a:effectLst/>
                <a:uLnTx/>
                <a:uFillTx/>
                <a:latin typeface="Arial"/>
                <a:ea typeface="MS PGothic"/>
                <a:cs typeface="+mn-cs"/>
              </a:rPr>
              <a:t>First credit in the world </a:t>
            </a:r>
          </a:p>
          <a:p>
            <a:pPr marL="0" marR="0" lvl="0" indent="0" algn="ctr" defTabSz="914400" rtl="0" eaLnBrk="1" fontAlgn="auto" latinLnBrk="0" hangingPunct="1">
              <a:lnSpc>
                <a:spcPct val="100000"/>
              </a:lnSpc>
              <a:spcBef>
                <a:spcPts val="0"/>
              </a:spcBef>
              <a:spcAft>
                <a:spcPts val="0"/>
              </a:spcAft>
              <a:buClr>
                <a:srgbClr val="00488E"/>
              </a:buClr>
              <a:buSzTx/>
              <a:buFontTx/>
              <a:buNone/>
              <a:tabLst/>
              <a:defRPr/>
            </a:pPr>
            <a:r>
              <a:rPr lang="en-gb" sz="1500" b="0" i="0" u="none" baseline="0">
                <a:latin typeface="Arial"/>
                <a:ea typeface="MS PGothic"/>
              </a:rPr>
              <a:t>assessed purely</a:t>
            </a:r>
          </a:p>
          <a:p>
            <a:pPr marL="0" marR="0" lvl="0" indent="0" algn="ctr" defTabSz="914400" rtl="0" eaLnBrk="1" fontAlgn="auto" latinLnBrk="0" hangingPunct="1">
              <a:lnSpc>
                <a:spcPct val="100000"/>
              </a:lnSpc>
              <a:spcBef>
                <a:spcPts val="200"/>
              </a:spcBef>
              <a:spcAft>
                <a:spcPts val="0"/>
              </a:spcAft>
              <a:buClr>
                <a:srgbClr val="00488E"/>
              </a:buClr>
              <a:buSzTx/>
              <a:buFontTx/>
              <a:buNone/>
              <a:tabLst/>
              <a:defRPr/>
            </a:pPr>
            <a:r>
              <a:rPr kumimoji="0" lang="en-gb" sz="1000" b="0" i="0" u="none" strike="noStrike" kern="1200" cap="none" spc="0" normalizeH="0" baseline="0">
                <a:ln>
                  <a:noFill/>
                </a:ln>
                <a:effectLst/>
                <a:uLnTx/>
                <a:uFillTx/>
                <a:latin typeface="Arial"/>
                <a:ea typeface="MS PGothic"/>
                <a:cs typeface="+mn-cs"/>
              </a:rPr>
              <a:t>on </a:t>
            </a:r>
            <a:r>
              <a:rPr kumimoji="0" lang="en-gb" sz="1000" b="1" i="0" u="none" strike="noStrike" kern="1200" cap="none" spc="0" normalizeH="0" baseline="0">
                <a:ln>
                  <a:noFill/>
                </a:ln>
                <a:effectLst/>
                <a:uLnTx/>
                <a:uFillTx/>
                <a:latin typeface="Arial"/>
                <a:ea typeface="MS PGothic"/>
                <a:cs typeface="+mn-cs"/>
              </a:rPr>
              <a:t>sustainability</a:t>
            </a:r>
          </a:p>
        </p:txBody>
      </p:sp>
      <p:sp>
        <p:nvSpPr>
          <p:cNvPr id="290" name="Textfeld 289">
            <a:extLst>
              <a:ext uri="{FF2B5EF4-FFF2-40B4-BE49-F238E27FC236}">
                <a16:creationId xmlns:a16="http://schemas.microsoft.com/office/drawing/2014/main" id="{E31116FD-8B33-970E-7B34-DA6CE9C477C8}"/>
              </a:ext>
            </a:extLst>
          </p:cNvPr>
          <p:cNvSpPr txBox="1"/>
          <p:nvPr/>
        </p:nvSpPr>
        <p:spPr>
          <a:xfrm>
            <a:off x="336547" y="1774362"/>
            <a:ext cx="1253105" cy="70788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a:ln>
                  <a:noFill/>
                </a:ln>
                <a:effectLst/>
                <a:uLnTx/>
                <a:uFillTx/>
                <a:latin typeface="Arial"/>
                <a:ea typeface="MS PGothic"/>
                <a:cs typeface="+mn-cs"/>
              </a:rPr>
              <a:t>~97</a:t>
            </a:r>
            <a:r>
              <a:rPr kumimoji="0" lang="en-gb" sz="1000" b="0" i="0" u="none" strike="noStrike" kern="1200" cap="none" spc="0" normalizeH="0" baseline="0">
                <a:ln>
                  <a:noFill/>
                </a:ln>
                <a:effectLst/>
                <a:uLnTx/>
                <a:uFillTx/>
                <a:latin typeface="Arial"/>
                <a:ea typeface="MS PGothic"/>
                <a:cs typeface="+mn-cs"/>
              </a:rPr>
              <a:t>%</a:t>
            </a:r>
            <a:br>
              <a:rPr kumimoji="0" lang="en-gb" sz="1200" b="1"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generation from </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renewable </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sources</a:t>
            </a:r>
          </a:p>
        </p:txBody>
      </p:sp>
      <p:sp>
        <p:nvSpPr>
          <p:cNvPr id="291" name="Textfeld 290">
            <a:extLst>
              <a:ext uri="{FF2B5EF4-FFF2-40B4-BE49-F238E27FC236}">
                <a16:creationId xmlns:a16="http://schemas.microsoft.com/office/drawing/2014/main" id="{29A00D5A-7081-4E04-A255-7442FF81D490}"/>
              </a:ext>
            </a:extLst>
          </p:cNvPr>
          <p:cNvSpPr txBox="1"/>
          <p:nvPr/>
        </p:nvSpPr>
        <p:spPr>
          <a:xfrm>
            <a:off x="2040141" y="1928547"/>
            <a:ext cx="1271182" cy="384721"/>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owned by the Republic</a:t>
            </a:r>
            <a:br>
              <a:rPr kumimoji="0" lang="en-gb" sz="1000" b="0" i="0" u="none" strike="noStrike" kern="1200" cap="none" spc="0" normalizeH="0" baseline="0">
                <a:ln>
                  <a:noFill/>
                </a:ln>
                <a:effectLst/>
                <a:uLnTx/>
                <a:uFillTx/>
                <a:latin typeface="Arial"/>
                <a:ea typeface="MS PGothic"/>
                <a:cs typeface="+mn-cs"/>
              </a:rPr>
            </a:br>
            <a:r>
              <a:rPr lang="en-gb" sz="1500" b="1" i="0" u="none" baseline="0">
                <a:latin typeface="Arial"/>
                <a:ea typeface="MS PGothic"/>
              </a:rPr>
              <a:t>of Austria</a:t>
            </a:r>
          </a:p>
        </p:txBody>
      </p:sp>
      <p:pic>
        <p:nvPicPr>
          <p:cNvPr id="292" name="Grafik 291">
            <a:extLst>
              <a:ext uri="{FF2B5EF4-FFF2-40B4-BE49-F238E27FC236}">
                <a16:creationId xmlns:a16="http://schemas.microsoft.com/office/drawing/2014/main" id="{384C79F5-B779-E77C-FE28-F6F8704748BE}"/>
              </a:ext>
            </a:extLst>
          </p:cNvPr>
          <p:cNvPicPr>
            <a:picLocks noChangeAspect="1"/>
          </p:cNvPicPr>
          <p:nvPr/>
        </p:nvPicPr>
        <p:blipFill>
          <a:blip r:embed="rId50" cstate="screen">
            <a:extLst>
              <a:ext uri="{28A0092B-C50C-407E-A947-70E740481C1C}">
                <a14:useLocalDpi xmlns:a14="http://schemas.microsoft.com/office/drawing/2010/main"/>
              </a:ext>
            </a:extLst>
          </a:blip>
          <a:stretch>
            <a:fillRect/>
          </a:stretch>
        </p:blipFill>
        <p:spPr>
          <a:xfrm>
            <a:off x="725891" y="1200150"/>
            <a:ext cx="474416" cy="469900"/>
          </a:xfrm>
          <a:prstGeom prst="rect">
            <a:avLst/>
          </a:prstGeom>
        </p:spPr>
      </p:pic>
      <p:graphicFrame>
        <p:nvGraphicFramePr>
          <p:cNvPr id="340" name="Chart 3">
            <a:extLst>
              <a:ext uri="{FF2B5EF4-FFF2-40B4-BE49-F238E27FC236}">
                <a16:creationId xmlns:a16="http://schemas.microsoft.com/office/drawing/2014/main" id="{3A085B49-8A23-5753-27C5-DEFD6561D281}"/>
              </a:ext>
            </a:extLst>
          </p:cNvPr>
          <p:cNvGraphicFramePr/>
          <p:nvPr>
            <p:custDataLst>
              <p:tags r:id="rId2"/>
            </p:custDataLst>
            <p:extLst>
              <p:ext uri="{D42A27DB-BD31-4B8C-83A1-F6EECF244321}">
                <p14:modId xmlns:p14="http://schemas.microsoft.com/office/powerpoint/2010/main" val="3694486913"/>
              </p:ext>
            </p:extLst>
          </p:nvPr>
        </p:nvGraphicFramePr>
        <p:xfrm>
          <a:off x="2305050" y="1111250"/>
          <a:ext cx="744538" cy="744538"/>
        </p:xfrm>
        <a:graphic>
          <a:graphicData uri="http://schemas.openxmlformats.org/drawingml/2006/chart">
            <c:chart xmlns:c="http://schemas.openxmlformats.org/drawingml/2006/chart" xmlns:r="http://schemas.openxmlformats.org/officeDocument/2006/relationships" r:id="rId51"/>
          </a:graphicData>
        </a:graphic>
      </p:graphicFrame>
      <p:sp>
        <p:nvSpPr>
          <p:cNvPr id="294" name="Textfeld 293">
            <a:extLst>
              <a:ext uri="{FF2B5EF4-FFF2-40B4-BE49-F238E27FC236}">
                <a16:creationId xmlns:a16="http://schemas.microsoft.com/office/drawing/2014/main" id="{D8451BC3-6CA8-89C1-93DE-0A271471C6CE}"/>
              </a:ext>
            </a:extLst>
          </p:cNvPr>
          <p:cNvSpPr txBox="1"/>
          <p:nvPr/>
        </p:nvSpPr>
        <p:spPr>
          <a:xfrm>
            <a:off x="2525713" y="1376363"/>
            <a:ext cx="301625" cy="215900"/>
          </a:xfrm>
          <a:prstGeom prst="rect">
            <a:avLst/>
          </a:prstGeom>
          <a:noFill/>
        </p:spPr>
        <p:txBody>
          <a:bodyPr wrap="non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a:ln>
                  <a:noFill/>
                </a:ln>
                <a:effectLst/>
                <a:uLnTx/>
                <a:uFillTx/>
                <a:latin typeface="Arial"/>
                <a:ea typeface="MS PGothic"/>
                <a:cs typeface="+mn-cs"/>
              </a:rPr>
              <a:t>51</a:t>
            </a:r>
            <a:r>
              <a:rPr kumimoji="0" lang="en-gb" sz="900" b="0" i="0" u="none" strike="noStrike" kern="1200" cap="none" spc="0" normalizeH="0" baseline="0">
                <a:ln>
                  <a:noFill/>
                </a:ln>
                <a:effectLst/>
                <a:uLnTx/>
                <a:uFillTx/>
                <a:latin typeface="Arial"/>
                <a:ea typeface="MS PGothic"/>
                <a:cs typeface="+mn-cs"/>
              </a:rPr>
              <a:t>%</a:t>
            </a:r>
          </a:p>
        </p:txBody>
      </p:sp>
      <p:sp>
        <p:nvSpPr>
          <p:cNvPr id="295" name="Rechteck 294">
            <a:extLst>
              <a:ext uri="{FF2B5EF4-FFF2-40B4-BE49-F238E27FC236}">
                <a16:creationId xmlns:a16="http://schemas.microsoft.com/office/drawing/2014/main" id="{425AAFAC-1DFC-6B76-B16F-F12E6F24213B}"/>
              </a:ext>
            </a:extLst>
          </p:cNvPr>
          <p:cNvSpPr/>
          <p:nvPr/>
        </p:nvSpPr>
        <p:spPr>
          <a:xfrm>
            <a:off x="7304228" y="1159985"/>
            <a:ext cx="950581" cy="400110"/>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around</a:t>
            </a:r>
            <a:r>
              <a:rPr kumimoji="0" lang="en-gb" sz="1600" b="1" i="0" u="none" strike="noStrike" kern="1200" cap="none" spc="0" normalizeH="0" baseline="0">
                <a:ln>
                  <a:noFill/>
                </a:ln>
                <a:effectLst/>
                <a:uLnTx/>
                <a:uFillTx/>
                <a:latin typeface="Arial"/>
                <a:ea typeface="MS PGothic"/>
                <a:cs typeface="+mn-cs"/>
              </a:rPr>
              <a:t> </a:t>
            </a:r>
            <a:r>
              <a:rPr lang="en-gb" sz="1500" b="1" i="0" u="none" baseline="0">
                <a:latin typeface="Arial"/>
                <a:ea typeface="MS PGothic"/>
              </a:rPr>
              <a:t>3,200</a:t>
            </a:r>
            <a:br>
              <a:rPr lang="en-gb" sz="1600" b="1" i="0" u="none" strike="noStrike" kern="1200" cap="none" spc="0" baseline="0">
                <a:latin typeface="Arial"/>
                <a:ea typeface="MS PGothic"/>
                <a:cs typeface="Arial"/>
              </a:rPr>
            </a:br>
            <a:r>
              <a:rPr kumimoji="0" lang="en-gb" sz="1000" b="0" i="0" u="none" strike="noStrike" kern="1200" cap="none" spc="0" normalizeH="0" baseline="0">
                <a:ln>
                  <a:noFill/>
                </a:ln>
                <a:effectLst/>
                <a:uLnTx/>
                <a:uFillTx/>
                <a:latin typeface="Arial"/>
                <a:ea typeface="MS PGothic"/>
                <a:cs typeface="+mn-cs"/>
              </a:rPr>
              <a:t>employees</a:t>
            </a:r>
            <a:r>
              <a:rPr lang="en-gb" sz="1000" b="0" i="0" u="none" baseline="0">
                <a:latin typeface="Arial"/>
                <a:ea typeface="MS PGothic"/>
                <a:cs typeface="Arial"/>
              </a:rPr>
              <a:t> </a:t>
            </a:r>
            <a:endParaRPr kumimoji="0" lang="en-gb" sz="1200" b="0" i="0" u="none" strike="noStrike" kern="1200" cap="none" spc="0" normalizeH="0" baseline="0" noProof="0" dirty="0" err="1">
              <a:ln>
                <a:noFill/>
              </a:ln>
              <a:effectLst/>
              <a:uLnTx/>
              <a:uFillTx/>
              <a:latin typeface="Arial"/>
              <a:ea typeface="MS PGothic"/>
              <a:cs typeface="+mn-cs"/>
            </a:endParaRPr>
          </a:p>
        </p:txBody>
      </p:sp>
      <p:grpSp>
        <p:nvGrpSpPr>
          <p:cNvPr id="296" name="Grafik 197">
            <a:extLst>
              <a:ext uri="{FF2B5EF4-FFF2-40B4-BE49-F238E27FC236}">
                <a16:creationId xmlns:a16="http://schemas.microsoft.com/office/drawing/2014/main" id="{DC3DC622-2CD6-5947-2764-D215FB66FF90}"/>
              </a:ext>
            </a:extLst>
          </p:cNvPr>
          <p:cNvGrpSpPr>
            <a:grpSpLocks noChangeAspect="1"/>
          </p:cNvGrpSpPr>
          <p:nvPr/>
        </p:nvGrpSpPr>
        <p:grpSpPr>
          <a:xfrm>
            <a:off x="5837070" y="1200150"/>
            <a:ext cx="525463" cy="469973"/>
            <a:chOff x="4443412" y="1952625"/>
            <a:chExt cx="3305651" cy="2956572"/>
          </a:xfrm>
          <a:solidFill>
            <a:schemeClr val="tx2"/>
          </a:solidFill>
        </p:grpSpPr>
        <p:sp>
          <p:nvSpPr>
            <p:cNvPr id="297" name="Freihandform: Form 296">
              <a:extLst>
                <a:ext uri="{FF2B5EF4-FFF2-40B4-BE49-F238E27FC236}">
                  <a16:creationId xmlns:a16="http://schemas.microsoft.com/office/drawing/2014/main" id="{6EADB83E-ADF4-D71E-3CD5-45226ACAC5A5}"/>
                </a:ext>
              </a:extLst>
            </p:cNvPr>
            <p:cNvSpPr/>
            <p:nvPr/>
          </p:nvSpPr>
          <p:spPr>
            <a:xfrm>
              <a:off x="4443412" y="1952625"/>
              <a:ext cx="3305651" cy="2804064"/>
            </a:xfrm>
            <a:custGeom>
              <a:avLst/>
              <a:gdLst>
                <a:gd name="connsiteX0" fmla="*/ 0 w 3305651"/>
                <a:gd name="connsiteY0" fmla="*/ 1460849 h 2804064"/>
                <a:gd name="connsiteX1" fmla="*/ 2530507 w 3305651"/>
                <a:gd name="connsiteY1" fmla="*/ 0 h 2804064"/>
                <a:gd name="connsiteX2" fmla="*/ 3305651 w 3305651"/>
                <a:gd name="connsiteY2" fmla="*/ 1343025 h 2804064"/>
                <a:gd name="connsiteX3" fmla="*/ 3016282 w 3305651"/>
                <a:gd name="connsiteY3" fmla="*/ 1510856 h 2804064"/>
                <a:gd name="connsiteX4" fmla="*/ 1919764 w 3305651"/>
                <a:gd name="connsiteY4" fmla="*/ 2144649 h 2804064"/>
                <a:gd name="connsiteX5" fmla="*/ 1837373 w 3305651"/>
                <a:gd name="connsiteY5" fmla="*/ 2149983 h 2804064"/>
                <a:gd name="connsiteX6" fmla="*/ 1169405 w 3305651"/>
                <a:gd name="connsiteY6" fmla="*/ 2428297 h 2804064"/>
                <a:gd name="connsiteX7" fmla="*/ 1136333 w 3305651"/>
                <a:gd name="connsiteY7" fmla="*/ 2548509 h 2804064"/>
                <a:gd name="connsiteX8" fmla="*/ 1082326 w 3305651"/>
                <a:gd name="connsiteY8" fmla="*/ 2628233 h 2804064"/>
                <a:gd name="connsiteX9" fmla="*/ 775811 w 3305651"/>
                <a:gd name="connsiteY9" fmla="*/ 2804065 h 2804064"/>
                <a:gd name="connsiteX10" fmla="*/ 2842927 w 3305651"/>
                <a:gd name="connsiteY10" fmla="*/ 1092613 h 2804064"/>
                <a:gd name="connsiteX11" fmla="*/ 2319719 w 3305651"/>
                <a:gd name="connsiteY11" fmla="*/ 1201579 h 2804064"/>
                <a:gd name="connsiteX12" fmla="*/ 2545271 w 3305651"/>
                <a:gd name="connsiteY12" fmla="*/ 1070705 h 2804064"/>
                <a:gd name="connsiteX13" fmla="*/ 2601087 w 3305651"/>
                <a:gd name="connsiteY13" fmla="*/ 918877 h 2804064"/>
                <a:gd name="connsiteX14" fmla="*/ 2593467 w 3305651"/>
                <a:gd name="connsiteY14" fmla="*/ 905828 h 2804064"/>
                <a:gd name="connsiteX15" fmla="*/ 2241042 w 3305651"/>
                <a:gd name="connsiteY15" fmla="*/ 1108424 h 2804064"/>
                <a:gd name="connsiteX16" fmla="*/ 2190464 w 3305651"/>
                <a:gd name="connsiteY16" fmla="*/ 1022223 h 2804064"/>
                <a:gd name="connsiteX17" fmla="*/ 2565464 w 3305651"/>
                <a:gd name="connsiteY17" fmla="*/ 804386 h 2804064"/>
                <a:gd name="connsiteX18" fmla="*/ 2526125 w 3305651"/>
                <a:gd name="connsiteY18" fmla="*/ 690753 h 2804064"/>
                <a:gd name="connsiteX19" fmla="*/ 2149221 w 3305651"/>
                <a:gd name="connsiteY19" fmla="*/ 907161 h 2804064"/>
                <a:gd name="connsiteX20" fmla="*/ 2460212 w 3305651"/>
                <a:gd name="connsiteY20" fmla="*/ 520637 h 2804064"/>
                <a:gd name="connsiteX21" fmla="*/ 2397538 w 3305651"/>
                <a:gd name="connsiteY21" fmla="*/ 328422 h 2804064"/>
                <a:gd name="connsiteX22" fmla="*/ 1944243 w 3305651"/>
                <a:gd name="connsiteY22" fmla="*/ 954405 h 2804064"/>
                <a:gd name="connsiteX23" fmla="*/ 1899761 w 3305651"/>
                <a:gd name="connsiteY23" fmla="*/ 1052989 h 2804064"/>
                <a:gd name="connsiteX24" fmla="*/ 1880711 w 3305651"/>
                <a:gd name="connsiteY24" fmla="*/ 1084040 h 2804064"/>
                <a:gd name="connsiteX25" fmla="*/ 1912430 w 3305651"/>
                <a:gd name="connsiteY25" fmla="*/ 1181195 h 2804064"/>
                <a:gd name="connsiteX26" fmla="*/ 1999774 w 3305651"/>
                <a:gd name="connsiteY26" fmla="*/ 1133570 h 2804064"/>
                <a:gd name="connsiteX27" fmla="*/ 2047399 w 3305651"/>
                <a:gd name="connsiteY27" fmla="*/ 1217295 h 2804064"/>
                <a:gd name="connsiteX28" fmla="*/ 2025682 w 3305651"/>
                <a:gd name="connsiteY28" fmla="*/ 1369695 h 2804064"/>
                <a:gd name="connsiteX29" fmla="*/ 2123123 w 3305651"/>
                <a:gd name="connsiteY29" fmla="*/ 1316069 h 2804064"/>
                <a:gd name="connsiteX30" fmla="*/ 2248472 w 3305651"/>
                <a:gd name="connsiteY30" fmla="*/ 1410748 h 2804064"/>
                <a:gd name="connsiteX31" fmla="*/ 2933224 w 3305651"/>
                <a:gd name="connsiteY31" fmla="*/ 1310068 h 2804064"/>
                <a:gd name="connsiteX32" fmla="*/ 2944559 w 3305651"/>
                <a:gd name="connsiteY32" fmla="*/ 1270730 h 2804064"/>
                <a:gd name="connsiteX33" fmla="*/ 2842927 w 3305651"/>
                <a:gd name="connsiteY33" fmla="*/ 1092613 h 280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05651" h="2804064">
                  <a:moveTo>
                    <a:pt x="0" y="1460849"/>
                  </a:moveTo>
                  <a:lnTo>
                    <a:pt x="2530507" y="0"/>
                  </a:lnTo>
                  <a:lnTo>
                    <a:pt x="3305651" y="1343025"/>
                  </a:lnTo>
                  <a:cubicBezTo>
                    <a:pt x="3207163" y="1400175"/>
                    <a:pt x="3111818" y="1455706"/>
                    <a:pt x="3016282" y="1510856"/>
                  </a:cubicBezTo>
                  <a:cubicBezTo>
                    <a:pt x="2650585" y="1721930"/>
                    <a:pt x="2285079" y="1933194"/>
                    <a:pt x="1919764" y="2144649"/>
                  </a:cubicBezTo>
                  <a:cubicBezTo>
                    <a:pt x="1895250" y="2161091"/>
                    <a:pt x="1863802" y="2163127"/>
                    <a:pt x="1837373" y="2149983"/>
                  </a:cubicBezTo>
                  <a:cubicBezTo>
                    <a:pt x="1576064" y="2042383"/>
                    <a:pt x="1277005" y="2166989"/>
                    <a:pt x="1169405" y="2428297"/>
                  </a:cubicBezTo>
                  <a:cubicBezTo>
                    <a:pt x="1153522" y="2466870"/>
                    <a:pt x="1142416" y="2507240"/>
                    <a:pt x="1136333" y="2548509"/>
                  </a:cubicBezTo>
                  <a:cubicBezTo>
                    <a:pt x="1130713" y="2585847"/>
                    <a:pt x="1117283" y="2609374"/>
                    <a:pt x="1082326" y="2628233"/>
                  </a:cubicBezTo>
                  <a:cubicBezTo>
                    <a:pt x="980885" y="2683002"/>
                    <a:pt x="882301" y="2742533"/>
                    <a:pt x="775811" y="2804065"/>
                  </a:cubicBezTo>
                  <a:close/>
                  <a:moveTo>
                    <a:pt x="2842927" y="1092613"/>
                  </a:moveTo>
                  <a:cubicBezTo>
                    <a:pt x="2716530" y="1351502"/>
                    <a:pt x="2452402" y="1378363"/>
                    <a:pt x="2319719" y="1201579"/>
                  </a:cubicBezTo>
                  <a:lnTo>
                    <a:pt x="2545271" y="1070705"/>
                  </a:lnTo>
                  <a:cubicBezTo>
                    <a:pt x="2637282" y="1017365"/>
                    <a:pt x="2637282" y="1017365"/>
                    <a:pt x="2601087" y="918877"/>
                  </a:cubicBezTo>
                  <a:cubicBezTo>
                    <a:pt x="2598845" y="914360"/>
                    <a:pt x="2596299" y="910000"/>
                    <a:pt x="2593467" y="905828"/>
                  </a:cubicBezTo>
                  <a:lnTo>
                    <a:pt x="2241042" y="1108424"/>
                  </a:lnTo>
                  <a:cubicBezTo>
                    <a:pt x="2223040" y="1077849"/>
                    <a:pt x="2207419" y="1051274"/>
                    <a:pt x="2190464" y="1022223"/>
                  </a:cubicBezTo>
                  <a:lnTo>
                    <a:pt x="2565464" y="804386"/>
                  </a:lnTo>
                  <a:lnTo>
                    <a:pt x="2526125" y="690753"/>
                  </a:lnTo>
                  <a:lnTo>
                    <a:pt x="2149221" y="907161"/>
                  </a:lnTo>
                  <a:cubicBezTo>
                    <a:pt x="2071592" y="716661"/>
                    <a:pt x="2210086" y="515684"/>
                    <a:pt x="2460212" y="520637"/>
                  </a:cubicBezTo>
                  <a:lnTo>
                    <a:pt x="2397538" y="328422"/>
                  </a:lnTo>
                  <a:cubicBezTo>
                    <a:pt x="2090833" y="371189"/>
                    <a:pt x="1884521" y="656368"/>
                    <a:pt x="1944243" y="954405"/>
                  </a:cubicBezTo>
                  <a:cubicBezTo>
                    <a:pt x="1953768" y="1003649"/>
                    <a:pt x="1949482" y="1034510"/>
                    <a:pt x="1899761" y="1052989"/>
                  </a:cubicBezTo>
                  <a:cubicBezTo>
                    <a:pt x="1890236" y="1056513"/>
                    <a:pt x="1878711" y="1075277"/>
                    <a:pt x="1880711" y="1084040"/>
                  </a:cubicBezTo>
                  <a:cubicBezTo>
                    <a:pt x="1888236" y="1116616"/>
                    <a:pt x="1901095" y="1147858"/>
                    <a:pt x="1912430" y="1181195"/>
                  </a:cubicBezTo>
                  <a:lnTo>
                    <a:pt x="1999774" y="1133570"/>
                  </a:lnTo>
                  <a:lnTo>
                    <a:pt x="2047399" y="1217295"/>
                  </a:lnTo>
                  <a:cubicBezTo>
                    <a:pt x="1977676" y="1266825"/>
                    <a:pt x="1977295" y="1269397"/>
                    <a:pt x="2025682" y="1369695"/>
                  </a:cubicBezTo>
                  <a:lnTo>
                    <a:pt x="2123123" y="1316069"/>
                  </a:lnTo>
                  <a:cubicBezTo>
                    <a:pt x="2167795" y="1350074"/>
                    <a:pt x="2206085" y="1383602"/>
                    <a:pt x="2248472" y="1410748"/>
                  </a:cubicBezTo>
                  <a:cubicBezTo>
                    <a:pt x="2475548" y="1556290"/>
                    <a:pt x="2772347" y="1512380"/>
                    <a:pt x="2933224" y="1310068"/>
                  </a:cubicBezTo>
                  <a:cubicBezTo>
                    <a:pt x="2941320" y="1299877"/>
                    <a:pt x="2949226" y="1279589"/>
                    <a:pt x="2944559" y="1270730"/>
                  </a:cubicBezTo>
                  <a:cubicBezTo>
                    <a:pt x="2913031" y="1211104"/>
                    <a:pt x="2878074" y="1153287"/>
                    <a:pt x="2842927" y="10926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298" name="Freihandform: Form 297">
              <a:extLst>
                <a:ext uri="{FF2B5EF4-FFF2-40B4-BE49-F238E27FC236}">
                  <a16:creationId xmlns:a16="http://schemas.microsoft.com/office/drawing/2014/main" id="{8EECB345-47A8-A232-DA5C-607A3682D035}"/>
                </a:ext>
              </a:extLst>
            </p:cNvPr>
            <p:cNvSpPr/>
            <p:nvPr/>
          </p:nvSpPr>
          <p:spPr>
            <a:xfrm>
              <a:off x="5762243" y="4255574"/>
              <a:ext cx="653415" cy="653623"/>
            </a:xfrm>
            <a:custGeom>
              <a:avLst/>
              <a:gdLst>
                <a:gd name="connsiteX0" fmla="*/ 653415 w 653415"/>
                <a:gd name="connsiteY0" fmla="*/ 327570 h 653623"/>
                <a:gd name="connsiteX1" fmla="*/ 326327 w 653415"/>
                <a:gd name="connsiteY1" fmla="*/ 653611 h 653623"/>
                <a:gd name="connsiteX2" fmla="*/ 0 w 653415"/>
                <a:gd name="connsiteY2" fmla="*/ 325951 h 653623"/>
                <a:gd name="connsiteX3" fmla="*/ 327851 w 653415"/>
                <a:gd name="connsiteY3" fmla="*/ 5 h 653623"/>
                <a:gd name="connsiteX4" fmla="*/ 653415 w 653415"/>
                <a:gd name="connsiteY4" fmla="*/ 327570 h 653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415" h="653623">
                  <a:moveTo>
                    <a:pt x="653415" y="327570"/>
                  </a:moveTo>
                  <a:cubicBezTo>
                    <a:pt x="653415" y="505688"/>
                    <a:pt x="503016" y="655230"/>
                    <a:pt x="326327" y="653611"/>
                  </a:cubicBezTo>
                  <a:cubicBezTo>
                    <a:pt x="148019" y="651992"/>
                    <a:pt x="-285" y="503021"/>
                    <a:pt x="0" y="325951"/>
                  </a:cubicBezTo>
                  <a:cubicBezTo>
                    <a:pt x="286" y="148881"/>
                    <a:pt x="151353" y="-1042"/>
                    <a:pt x="327851" y="5"/>
                  </a:cubicBezTo>
                  <a:cubicBezTo>
                    <a:pt x="507524" y="2183"/>
                    <a:pt x="652338" y="147887"/>
                    <a:pt x="653415" y="3275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299" name="Freihandform: Form 298">
              <a:extLst>
                <a:ext uri="{FF2B5EF4-FFF2-40B4-BE49-F238E27FC236}">
                  <a16:creationId xmlns:a16="http://schemas.microsoft.com/office/drawing/2014/main" id="{DE37B5F9-C66A-6887-3DA0-9CB6E485FC4B}"/>
                </a:ext>
              </a:extLst>
            </p:cNvPr>
            <p:cNvSpPr/>
            <p:nvPr/>
          </p:nvSpPr>
          <p:spPr>
            <a:xfrm>
              <a:off x="4491315" y="2281496"/>
              <a:ext cx="651331" cy="651543"/>
            </a:xfrm>
            <a:custGeom>
              <a:avLst/>
              <a:gdLst>
                <a:gd name="connsiteX0" fmla="*/ 327953 w 651331"/>
                <a:gd name="connsiteY0" fmla="*/ 651536 h 651543"/>
                <a:gd name="connsiteX1" fmla="*/ 8 w 651331"/>
                <a:gd name="connsiteY1" fmla="*/ 327972 h 651543"/>
                <a:gd name="connsiteX2" fmla="*/ 323572 w 651331"/>
                <a:gd name="connsiteY2" fmla="*/ 26 h 651543"/>
                <a:gd name="connsiteX3" fmla="*/ 651327 w 651331"/>
                <a:gd name="connsiteY3" fmla="*/ 323876 h 651543"/>
                <a:gd name="connsiteX4" fmla="*/ 327953 w 651331"/>
                <a:gd name="connsiteY4" fmla="*/ 651536 h 65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331" h="651543">
                  <a:moveTo>
                    <a:pt x="327953" y="651536"/>
                  </a:moveTo>
                  <a:cubicBezTo>
                    <a:pt x="148044" y="652746"/>
                    <a:pt x="1217" y="507882"/>
                    <a:pt x="8" y="327972"/>
                  </a:cubicBezTo>
                  <a:cubicBezTo>
                    <a:pt x="-1202" y="148062"/>
                    <a:pt x="143662" y="1236"/>
                    <a:pt x="323572" y="26"/>
                  </a:cubicBezTo>
                  <a:cubicBezTo>
                    <a:pt x="501213" y="-2260"/>
                    <a:pt x="650375" y="145092"/>
                    <a:pt x="651327" y="323876"/>
                  </a:cubicBezTo>
                  <a:cubicBezTo>
                    <a:pt x="652278" y="503559"/>
                    <a:pt x="507634" y="650121"/>
                    <a:pt x="327953" y="6515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grpSp>
      <p:grpSp>
        <p:nvGrpSpPr>
          <p:cNvPr id="10" name="Gruppieren 9">
            <a:extLst>
              <a:ext uri="{FF2B5EF4-FFF2-40B4-BE49-F238E27FC236}">
                <a16:creationId xmlns:a16="http://schemas.microsoft.com/office/drawing/2014/main" id="{817D7D99-F70A-68DB-3FB2-491CB2173FEB}"/>
              </a:ext>
            </a:extLst>
          </p:cNvPr>
          <p:cNvGrpSpPr/>
          <p:nvPr/>
        </p:nvGrpSpPr>
        <p:grpSpPr>
          <a:xfrm>
            <a:off x="3583937" y="1825821"/>
            <a:ext cx="1510713" cy="582478"/>
            <a:chOff x="3490937" y="1855788"/>
            <a:chExt cx="1510713" cy="582478"/>
          </a:xfrm>
        </p:grpSpPr>
        <p:sp>
          <p:nvSpPr>
            <p:cNvPr id="301" name="Rechteck 300">
              <a:extLst>
                <a:ext uri="{FF2B5EF4-FFF2-40B4-BE49-F238E27FC236}">
                  <a16:creationId xmlns:a16="http://schemas.microsoft.com/office/drawing/2014/main" id="{A56A0F3D-03FB-FE5D-B52B-663E10CEB2E1}"/>
                </a:ext>
              </a:extLst>
            </p:cNvPr>
            <p:cNvSpPr/>
            <p:nvPr/>
          </p:nvSpPr>
          <p:spPr>
            <a:xfrm>
              <a:off x="3490937" y="2053545"/>
              <a:ext cx="1510713" cy="384721"/>
            </a:xfrm>
            <a:prstGeom prst="rect">
              <a:avLst/>
            </a:prstGeom>
          </p:spPr>
          <p:txBody>
            <a:bodyPr wrap="square" lIns="0" tIns="0" rIns="0" bIns="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312738" algn="l"/>
                </a:tabLst>
                <a:defRPr/>
              </a:pPr>
              <a:r>
                <a:rPr lang="en-gb" sz="1500" b="1" i="0" u="none" baseline="0" dirty="0">
                  <a:latin typeface="Arial"/>
                  <a:ea typeface="MS PGothic"/>
                </a:rPr>
                <a:t>No. 1</a:t>
              </a:r>
              <a:br>
                <a:rPr lang="en-gb" sz="1500" b="1" dirty="0">
                  <a:latin typeface="Arial"/>
                  <a:ea typeface="MS PGothic"/>
                </a:rPr>
              </a:br>
              <a:r>
                <a:rPr kumimoji="0" lang="en-gb" sz="1000" b="0" i="0" u="none" strike="noStrike" kern="1200" cap="none" spc="0" normalizeH="0" baseline="0" dirty="0">
                  <a:ln>
                    <a:noFill/>
                  </a:ln>
                  <a:effectLst/>
                  <a:uLnTx/>
                  <a:uFillTx/>
                  <a:latin typeface="Arial"/>
                  <a:ea typeface="MS PGothic"/>
                  <a:cs typeface="+mn-cs"/>
                </a:rPr>
                <a:t>with industrial customers</a:t>
              </a:r>
            </a:p>
          </p:txBody>
        </p:sp>
        <p:pic>
          <p:nvPicPr>
            <p:cNvPr id="303" name="Grafik 302">
              <a:extLst>
                <a:ext uri="{FF2B5EF4-FFF2-40B4-BE49-F238E27FC236}">
                  <a16:creationId xmlns:a16="http://schemas.microsoft.com/office/drawing/2014/main" id="{C7362CAE-E9F6-19FB-DCC6-56C07A0FF912}"/>
                </a:ext>
              </a:extLst>
            </p:cNvPr>
            <p:cNvPicPr>
              <a:picLocks noChangeAspect="1"/>
            </p:cNvPicPr>
            <p:nvPr/>
          </p:nvPicPr>
          <p:blipFill>
            <a:blip r:embed="rId52" cstate="screen">
              <a:extLst>
                <a:ext uri="{28A0092B-C50C-407E-A947-70E740481C1C}">
                  <a14:useLocalDpi xmlns:a14="http://schemas.microsoft.com/office/drawing/2010/main"/>
                </a:ext>
              </a:extLst>
            </a:blip>
            <a:stretch>
              <a:fillRect/>
            </a:stretch>
          </p:blipFill>
          <p:spPr>
            <a:xfrm>
              <a:off x="3765272" y="1855788"/>
              <a:ext cx="404491" cy="404940"/>
            </a:xfrm>
            <a:prstGeom prst="rect">
              <a:avLst/>
            </a:prstGeom>
          </p:spPr>
        </p:pic>
      </p:grpSp>
      <p:grpSp>
        <p:nvGrpSpPr>
          <p:cNvPr id="11" name="Gruppieren 10">
            <a:extLst>
              <a:ext uri="{FF2B5EF4-FFF2-40B4-BE49-F238E27FC236}">
                <a16:creationId xmlns:a16="http://schemas.microsoft.com/office/drawing/2014/main" id="{E2D3463A-C783-1BFA-92F6-A4E1FB4A1846}"/>
              </a:ext>
            </a:extLst>
          </p:cNvPr>
          <p:cNvGrpSpPr/>
          <p:nvPr/>
        </p:nvGrpSpPr>
        <p:grpSpPr>
          <a:xfrm>
            <a:off x="3741499" y="1291951"/>
            <a:ext cx="1292136" cy="384721"/>
            <a:chOff x="3765272" y="1168257"/>
            <a:chExt cx="1292136" cy="384779"/>
          </a:xfrm>
        </p:grpSpPr>
        <p:sp>
          <p:nvSpPr>
            <p:cNvPr id="302" name="Rechteck 301">
              <a:extLst>
                <a:ext uri="{FF2B5EF4-FFF2-40B4-BE49-F238E27FC236}">
                  <a16:creationId xmlns:a16="http://schemas.microsoft.com/office/drawing/2014/main" id="{59ED5ADE-92E2-1FFB-9B19-8D56E94BF616}"/>
                </a:ext>
              </a:extLst>
            </p:cNvPr>
            <p:cNvSpPr/>
            <p:nvPr/>
          </p:nvSpPr>
          <p:spPr>
            <a:xfrm>
              <a:off x="3765272" y="1168257"/>
              <a:ext cx="809517" cy="384779"/>
            </a:xfrm>
            <a:prstGeom prst="rect">
              <a:avLst/>
            </a:prstGeom>
          </p:spPr>
          <p:txBody>
            <a:bodyPr wrap="non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tab pos="312738" algn="l"/>
                </a:tabLst>
                <a:defRPr/>
              </a:pPr>
              <a:r>
                <a:rPr lang="en-gb" sz="1500" b="1" i="0" u="none" baseline="0">
                  <a:latin typeface="Arial"/>
                  <a:ea typeface="MS PGothic"/>
                </a:rPr>
                <a:t>&gt;500,000</a:t>
              </a:r>
              <a:br>
                <a:rPr lang="en-gb" sz="1000">
                  <a:latin typeface="Arial"/>
                  <a:ea typeface="MS PGothic"/>
                </a:rPr>
              </a:br>
              <a:r>
                <a:rPr kumimoji="0" lang="en-gb" sz="1000" b="0" i="0" u="none" strike="noStrike" kern="1200" cap="none" spc="0" normalizeH="0" baseline="0">
                  <a:ln>
                    <a:noFill/>
                  </a:ln>
                  <a:effectLst/>
                  <a:uLnTx/>
                  <a:uFillTx/>
                  <a:latin typeface="Arial"/>
                  <a:ea typeface="MS PGothic"/>
                  <a:cs typeface="+mn-cs"/>
                </a:rPr>
                <a:t>private customers</a:t>
              </a:r>
            </a:p>
          </p:txBody>
        </p:sp>
        <p:sp>
          <p:nvSpPr>
            <p:cNvPr id="304" name="Grafik 217">
              <a:extLst>
                <a:ext uri="{FF2B5EF4-FFF2-40B4-BE49-F238E27FC236}">
                  <a16:creationId xmlns:a16="http://schemas.microsoft.com/office/drawing/2014/main" id="{B7C28036-9430-26F4-EBBC-E94F27E99CF9}"/>
                </a:ext>
              </a:extLst>
            </p:cNvPr>
            <p:cNvSpPr>
              <a:spLocks noChangeAspect="1"/>
            </p:cNvSpPr>
            <p:nvPr/>
          </p:nvSpPr>
          <p:spPr>
            <a:xfrm>
              <a:off x="4722360" y="1196975"/>
              <a:ext cx="335048" cy="334962"/>
            </a:xfrm>
            <a:custGeom>
              <a:avLst/>
              <a:gdLst>
                <a:gd name="connsiteX0" fmla="*/ 1018032 w 2607884"/>
                <a:gd name="connsiteY0" fmla="*/ 2603945 h 2604325"/>
                <a:gd name="connsiteX1" fmla="*/ 1018032 w 2607884"/>
                <a:gd name="connsiteY1" fmla="*/ 1598105 h 2604325"/>
                <a:gd name="connsiteX2" fmla="*/ 494157 w 2607884"/>
                <a:gd name="connsiteY2" fmla="*/ 1598105 h 2604325"/>
                <a:gd name="connsiteX3" fmla="*/ 494157 w 2607884"/>
                <a:gd name="connsiteY3" fmla="*/ 2604326 h 2604325"/>
                <a:gd name="connsiteX4" fmla="*/ 2000 w 2607884"/>
                <a:gd name="connsiteY4" fmla="*/ 2604326 h 2604325"/>
                <a:gd name="connsiteX5" fmla="*/ 0 w 2607884"/>
                <a:gd name="connsiteY5" fmla="*/ 2557844 h 2604325"/>
                <a:gd name="connsiteX6" fmla="*/ 1048 w 2607884"/>
                <a:gd name="connsiteY6" fmla="*/ 1233868 h 2604325"/>
                <a:gd name="connsiteX7" fmla="*/ 27241 w 2607884"/>
                <a:gd name="connsiteY7" fmla="*/ 1169098 h 2604325"/>
                <a:gd name="connsiteX8" fmla="*/ 1292257 w 2607884"/>
                <a:gd name="connsiteY8" fmla="*/ 6953 h 2604325"/>
                <a:gd name="connsiteX9" fmla="*/ 1305973 w 2607884"/>
                <a:gd name="connsiteY9" fmla="*/ 0 h 2604325"/>
                <a:gd name="connsiteX10" fmla="*/ 1433036 w 2607884"/>
                <a:gd name="connsiteY10" fmla="*/ 114300 h 2604325"/>
                <a:gd name="connsiteX11" fmla="*/ 2582799 w 2607884"/>
                <a:gd name="connsiteY11" fmla="*/ 1170146 h 2604325"/>
                <a:gd name="connsiteX12" fmla="*/ 2606612 w 2607884"/>
                <a:gd name="connsiteY12" fmla="*/ 1222343 h 2604325"/>
                <a:gd name="connsiteX13" fmla="*/ 2607469 w 2607884"/>
                <a:gd name="connsiteY13" fmla="*/ 2570512 h 2604325"/>
                <a:gd name="connsiteX14" fmla="*/ 2603659 w 2607884"/>
                <a:gd name="connsiteY14" fmla="*/ 2603945 h 2604325"/>
                <a:gd name="connsiteX15" fmla="*/ 1467803 w 2607884"/>
                <a:gd name="connsiteY15" fmla="*/ 1597343 h 2604325"/>
                <a:gd name="connsiteX16" fmla="*/ 1467803 w 2607884"/>
                <a:gd name="connsiteY16" fmla="*/ 2069306 h 2604325"/>
                <a:gd name="connsiteX17" fmla="*/ 2099786 w 2607884"/>
                <a:gd name="connsiteY17" fmla="*/ 2069306 h 2604325"/>
                <a:gd name="connsiteX18" fmla="*/ 2099786 w 2607884"/>
                <a:gd name="connsiteY18" fmla="*/ 1597343 h 260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07884" h="2604325">
                  <a:moveTo>
                    <a:pt x="1018032" y="2603945"/>
                  </a:moveTo>
                  <a:lnTo>
                    <a:pt x="1018032" y="1598105"/>
                  </a:lnTo>
                  <a:lnTo>
                    <a:pt x="494157" y="1598105"/>
                  </a:lnTo>
                  <a:lnTo>
                    <a:pt x="494157" y="2604326"/>
                  </a:lnTo>
                  <a:lnTo>
                    <a:pt x="2000" y="2604326"/>
                  </a:lnTo>
                  <a:cubicBezTo>
                    <a:pt x="1334" y="2588324"/>
                    <a:pt x="0" y="2573084"/>
                    <a:pt x="0" y="2557844"/>
                  </a:cubicBezTo>
                  <a:cubicBezTo>
                    <a:pt x="0" y="2116328"/>
                    <a:pt x="349" y="1675003"/>
                    <a:pt x="1048" y="1233868"/>
                  </a:cubicBezTo>
                  <a:cubicBezTo>
                    <a:pt x="1517" y="1209792"/>
                    <a:pt x="10843" y="1186733"/>
                    <a:pt x="27241" y="1169098"/>
                  </a:cubicBezTo>
                  <a:cubicBezTo>
                    <a:pt x="448056" y="780669"/>
                    <a:pt x="869728" y="393287"/>
                    <a:pt x="1292257" y="6953"/>
                  </a:cubicBezTo>
                  <a:cubicBezTo>
                    <a:pt x="1296573" y="4162"/>
                    <a:pt x="1301170" y="1832"/>
                    <a:pt x="1305973" y="0"/>
                  </a:cubicBezTo>
                  <a:cubicBezTo>
                    <a:pt x="1347216" y="37148"/>
                    <a:pt x="1390460" y="75438"/>
                    <a:pt x="1433036" y="114300"/>
                  </a:cubicBezTo>
                  <a:cubicBezTo>
                    <a:pt x="1816513" y="466090"/>
                    <a:pt x="2199767" y="818039"/>
                    <a:pt x="2582799" y="1170146"/>
                  </a:cubicBezTo>
                  <a:cubicBezTo>
                    <a:pt x="2596932" y="1183993"/>
                    <a:pt x="2605418" y="1202594"/>
                    <a:pt x="2606612" y="1222343"/>
                  </a:cubicBezTo>
                  <a:cubicBezTo>
                    <a:pt x="2607945" y="1671733"/>
                    <a:pt x="2608231" y="2121122"/>
                    <a:pt x="2607469" y="2570512"/>
                  </a:cubicBezTo>
                  <a:cubicBezTo>
                    <a:pt x="2606842" y="2581720"/>
                    <a:pt x="2605569" y="2592883"/>
                    <a:pt x="2603659" y="2603945"/>
                  </a:cubicBezTo>
                  <a:close/>
                  <a:moveTo>
                    <a:pt x="1467803" y="1597343"/>
                  </a:moveTo>
                  <a:lnTo>
                    <a:pt x="1467803" y="2069306"/>
                  </a:lnTo>
                  <a:lnTo>
                    <a:pt x="2099786" y="2069306"/>
                  </a:lnTo>
                  <a:lnTo>
                    <a:pt x="2099786" y="1597343"/>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S PGothic"/>
                <a:cs typeface="+mn-cs"/>
              </a:endParaRPr>
            </a:p>
          </p:txBody>
        </p:sp>
      </p:grpSp>
      <p:grpSp>
        <p:nvGrpSpPr>
          <p:cNvPr id="12" name="Gruppieren 11">
            <a:extLst>
              <a:ext uri="{FF2B5EF4-FFF2-40B4-BE49-F238E27FC236}">
                <a16:creationId xmlns:a16="http://schemas.microsoft.com/office/drawing/2014/main" id="{9477B57D-1D01-C1F7-E93D-A606FE683A40}"/>
              </a:ext>
            </a:extLst>
          </p:cNvPr>
          <p:cNvGrpSpPr/>
          <p:nvPr/>
        </p:nvGrpSpPr>
        <p:grpSpPr>
          <a:xfrm>
            <a:off x="7133715" y="1758071"/>
            <a:ext cx="1356640" cy="749825"/>
            <a:chOff x="7122655" y="1758071"/>
            <a:chExt cx="1356640" cy="749825"/>
          </a:xfrm>
        </p:grpSpPr>
        <p:pic>
          <p:nvPicPr>
            <p:cNvPr id="306" name="Grafik 305">
              <a:extLst>
                <a:ext uri="{FF2B5EF4-FFF2-40B4-BE49-F238E27FC236}">
                  <a16:creationId xmlns:a16="http://schemas.microsoft.com/office/drawing/2014/main" id="{8C5CB07C-2B2B-BD52-3AF7-B1BCCD455AE4}"/>
                </a:ext>
              </a:extLst>
            </p:cNvPr>
            <p:cNvPicPr>
              <a:picLocks noChangeAspect="1"/>
            </p:cNvPicPr>
            <p:nvPr/>
          </p:nvPicPr>
          <p:blipFill>
            <a:blip r:embed="rId53" cstate="screen">
              <a:extLst>
                <a:ext uri="{28A0092B-C50C-407E-A947-70E740481C1C}">
                  <a14:useLocalDpi xmlns:a14="http://schemas.microsoft.com/office/drawing/2010/main"/>
                </a:ext>
              </a:extLst>
            </a:blip>
            <a:stretch>
              <a:fillRect/>
            </a:stretch>
          </p:blipFill>
          <p:spPr>
            <a:xfrm>
              <a:off x="7812035" y="1758071"/>
              <a:ext cx="667260" cy="749825"/>
            </a:xfrm>
            <a:prstGeom prst="rect">
              <a:avLst/>
            </a:prstGeom>
          </p:spPr>
        </p:pic>
        <p:grpSp>
          <p:nvGrpSpPr>
            <p:cNvPr id="307" name="Gruppieren 306">
              <a:extLst>
                <a:ext uri="{FF2B5EF4-FFF2-40B4-BE49-F238E27FC236}">
                  <a16:creationId xmlns:a16="http://schemas.microsoft.com/office/drawing/2014/main" id="{BE0BB5DA-649A-FCBC-D8A5-A58763F7077E}"/>
                </a:ext>
              </a:extLst>
            </p:cNvPr>
            <p:cNvGrpSpPr/>
            <p:nvPr/>
          </p:nvGrpSpPr>
          <p:grpSpPr>
            <a:xfrm>
              <a:off x="7122655" y="1774362"/>
              <a:ext cx="684791" cy="733534"/>
              <a:chOff x="503996" y="2196122"/>
              <a:chExt cx="593802" cy="636068"/>
            </a:xfrm>
          </p:grpSpPr>
          <p:sp>
            <p:nvSpPr>
              <p:cNvPr id="308" name="Freihandform: Form 307">
                <a:extLst>
                  <a:ext uri="{FF2B5EF4-FFF2-40B4-BE49-F238E27FC236}">
                    <a16:creationId xmlns:a16="http://schemas.microsoft.com/office/drawing/2014/main" id="{CCA76BC7-0753-4178-BA3F-37DF4186F56C}"/>
                  </a:ext>
                </a:extLst>
              </p:cNvPr>
              <p:cNvSpPr/>
              <p:nvPr/>
            </p:nvSpPr>
            <p:spPr>
              <a:xfrm>
                <a:off x="831253" y="2280577"/>
                <a:ext cx="266545" cy="551613"/>
              </a:xfrm>
              <a:custGeom>
                <a:avLst/>
                <a:gdLst>
                  <a:gd name="connsiteX0" fmla="*/ 871756 w 1742721"/>
                  <a:gd name="connsiteY0" fmla="*/ 1840706 h 3606545"/>
                  <a:gd name="connsiteX1" fmla="*/ 769838 w 1742721"/>
                  <a:gd name="connsiteY1" fmla="*/ 1840706 h 3606545"/>
                  <a:gd name="connsiteX2" fmla="*/ 769838 w 1742721"/>
                  <a:gd name="connsiteY2" fmla="*/ 3606546 h 3606545"/>
                  <a:gd name="connsiteX3" fmla="*/ 476849 w 1742721"/>
                  <a:gd name="connsiteY3" fmla="*/ 3606546 h 3606545"/>
                  <a:gd name="connsiteX4" fmla="*/ 461800 w 1742721"/>
                  <a:gd name="connsiteY4" fmla="*/ 3347847 h 3606545"/>
                  <a:gd name="connsiteX5" fmla="*/ 404650 w 1742721"/>
                  <a:gd name="connsiteY5" fmla="*/ 2160175 h 3606545"/>
                  <a:gd name="connsiteX6" fmla="*/ 326926 w 1742721"/>
                  <a:gd name="connsiteY6" fmla="*/ 1269968 h 3606545"/>
                  <a:gd name="connsiteX7" fmla="*/ 302351 w 1742721"/>
                  <a:gd name="connsiteY7" fmla="*/ 1222343 h 3606545"/>
                  <a:gd name="connsiteX8" fmla="*/ 47748 w 1742721"/>
                  <a:gd name="connsiteY8" fmla="*/ 979265 h 3606545"/>
                  <a:gd name="connsiteX9" fmla="*/ 9076 w 1742721"/>
                  <a:gd name="connsiteY9" fmla="*/ 822674 h 3606545"/>
                  <a:gd name="connsiteX10" fmla="*/ 216817 w 1742721"/>
                  <a:gd name="connsiteY10" fmla="*/ 211455 h 3606545"/>
                  <a:gd name="connsiteX11" fmla="*/ 240058 w 1742721"/>
                  <a:gd name="connsiteY11" fmla="*/ 178308 h 3606545"/>
                  <a:gd name="connsiteX12" fmla="*/ 662110 w 1742721"/>
                  <a:gd name="connsiteY12" fmla="*/ 0 h 3606545"/>
                  <a:gd name="connsiteX13" fmla="*/ 820416 w 1742721"/>
                  <a:gd name="connsiteY13" fmla="*/ 589788 h 3606545"/>
                  <a:gd name="connsiteX14" fmla="*/ 830893 w 1742721"/>
                  <a:gd name="connsiteY14" fmla="*/ 589788 h 3606545"/>
                  <a:gd name="connsiteX15" fmla="*/ 988151 w 1742721"/>
                  <a:gd name="connsiteY15" fmla="*/ 4381 h 3606545"/>
                  <a:gd name="connsiteX16" fmla="*/ 1032633 w 1742721"/>
                  <a:gd name="connsiteY16" fmla="*/ 18097 h 3606545"/>
                  <a:gd name="connsiteX17" fmla="*/ 1386392 w 1742721"/>
                  <a:gd name="connsiteY17" fmla="*/ 155543 h 3606545"/>
                  <a:gd name="connsiteX18" fmla="*/ 1435255 w 1742721"/>
                  <a:gd name="connsiteY18" fmla="*/ 200787 h 3606545"/>
                  <a:gd name="connsiteX19" fmla="*/ 1718719 w 1742721"/>
                  <a:gd name="connsiteY19" fmla="*/ 802100 h 3606545"/>
                  <a:gd name="connsiteX20" fmla="*/ 1710432 w 1742721"/>
                  <a:gd name="connsiteY20" fmla="*/ 955358 h 3606545"/>
                  <a:gd name="connsiteX21" fmla="*/ 1496691 w 1742721"/>
                  <a:gd name="connsiteY21" fmla="*/ 1303782 h 3606545"/>
                  <a:gd name="connsiteX22" fmla="*/ 1464020 w 1742721"/>
                  <a:gd name="connsiteY22" fmla="*/ 1358837 h 3606545"/>
                  <a:gd name="connsiteX23" fmla="*/ 1742722 w 1742721"/>
                  <a:gd name="connsiteY23" fmla="*/ 1358837 h 3606545"/>
                  <a:gd name="connsiteX24" fmla="*/ 1742722 w 1742721"/>
                  <a:gd name="connsiteY24" fmla="*/ 2044636 h 3606545"/>
                  <a:gd name="connsiteX25" fmla="*/ 1240278 w 1742721"/>
                  <a:gd name="connsiteY25" fmla="*/ 2044636 h 3606545"/>
                  <a:gd name="connsiteX26" fmla="*/ 1164078 w 1742721"/>
                  <a:gd name="connsiteY26" fmla="*/ 3606070 h 3606545"/>
                  <a:gd name="connsiteX27" fmla="*/ 871756 w 1742721"/>
                  <a:gd name="connsiteY27" fmla="*/ 3606070 h 3606545"/>
                  <a:gd name="connsiteX28" fmla="*/ 1373628 w 1742721"/>
                  <a:gd name="connsiteY28" fmla="*/ 724662 h 3606545"/>
                  <a:gd name="connsiteX29" fmla="*/ 1365056 w 1742721"/>
                  <a:gd name="connsiteY29" fmla="*/ 727901 h 3606545"/>
                  <a:gd name="connsiteX30" fmla="*/ 1335719 w 1742721"/>
                  <a:gd name="connsiteY30" fmla="*/ 1017460 h 3606545"/>
                  <a:gd name="connsiteX31" fmla="*/ 1430969 w 1742721"/>
                  <a:gd name="connsiteY31" fmla="*/ 876776 h 3606545"/>
                  <a:gd name="connsiteX32" fmla="*/ 1432683 w 1742721"/>
                  <a:gd name="connsiteY32" fmla="*/ 851440 h 3606545"/>
                  <a:gd name="connsiteX33" fmla="*/ 1373628 w 1742721"/>
                  <a:gd name="connsiteY33" fmla="*/ 724662 h 360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42721" h="3606545">
                    <a:moveTo>
                      <a:pt x="871756" y="1840706"/>
                    </a:moveTo>
                    <a:lnTo>
                      <a:pt x="769838" y="1840706"/>
                    </a:lnTo>
                    <a:lnTo>
                      <a:pt x="769838" y="3606546"/>
                    </a:lnTo>
                    <a:lnTo>
                      <a:pt x="476849" y="3606546"/>
                    </a:lnTo>
                    <a:cubicBezTo>
                      <a:pt x="471801" y="3520821"/>
                      <a:pt x="466086" y="3434334"/>
                      <a:pt x="461800" y="3347847"/>
                    </a:cubicBezTo>
                    <a:cubicBezTo>
                      <a:pt x="442178" y="2951988"/>
                      <a:pt x="420080" y="2556224"/>
                      <a:pt x="404650" y="2160175"/>
                    </a:cubicBezTo>
                    <a:cubicBezTo>
                      <a:pt x="392934" y="1862042"/>
                      <a:pt x="366550" y="1565434"/>
                      <a:pt x="326926" y="1269968"/>
                    </a:cubicBezTo>
                    <a:cubicBezTo>
                      <a:pt x="323940" y="1251906"/>
                      <a:pt x="315341" y="1235243"/>
                      <a:pt x="302351" y="1222343"/>
                    </a:cubicBezTo>
                    <a:cubicBezTo>
                      <a:pt x="218341" y="1140428"/>
                      <a:pt x="132806" y="1060418"/>
                      <a:pt x="47748" y="979265"/>
                    </a:cubicBezTo>
                    <a:cubicBezTo>
                      <a:pt x="1552" y="935355"/>
                      <a:pt x="-10640" y="881729"/>
                      <a:pt x="9076" y="822674"/>
                    </a:cubicBezTo>
                    <a:cubicBezTo>
                      <a:pt x="77403" y="618649"/>
                      <a:pt x="146649" y="414909"/>
                      <a:pt x="216817" y="211455"/>
                    </a:cubicBezTo>
                    <a:cubicBezTo>
                      <a:pt x="221008" y="198977"/>
                      <a:pt x="229390" y="182880"/>
                      <a:pt x="240058" y="178308"/>
                    </a:cubicBezTo>
                    <a:cubicBezTo>
                      <a:pt x="378837" y="118491"/>
                      <a:pt x="518474" y="60388"/>
                      <a:pt x="662110" y="0"/>
                    </a:cubicBezTo>
                    <a:cubicBezTo>
                      <a:pt x="715927" y="200025"/>
                      <a:pt x="768124" y="395002"/>
                      <a:pt x="820416" y="589788"/>
                    </a:cubicBezTo>
                    <a:lnTo>
                      <a:pt x="830893" y="589788"/>
                    </a:lnTo>
                    <a:cubicBezTo>
                      <a:pt x="882805" y="396621"/>
                      <a:pt x="934621" y="203549"/>
                      <a:pt x="988151" y="4381"/>
                    </a:cubicBezTo>
                    <a:cubicBezTo>
                      <a:pt x="1004249" y="9334"/>
                      <a:pt x="1018822" y="12764"/>
                      <a:pt x="1032633" y="18097"/>
                    </a:cubicBezTo>
                    <a:cubicBezTo>
                      <a:pt x="1150743" y="63341"/>
                      <a:pt x="1269234" y="107918"/>
                      <a:pt x="1386392" y="155543"/>
                    </a:cubicBezTo>
                    <a:cubicBezTo>
                      <a:pt x="1407336" y="164652"/>
                      <a:pt x="1424565" y="180604"/>
                      <a:pt x="1435255" y="200787"/>
                    </a:cubicBezTo>
                    <a:cubicBezTo>
                      <a:pt x="1530505" y="400812"/>
                      <a:pt x="1624040" y="601790"/>
                      <a:pt x="1718719" y="802100"/>
                    </a:cubicBezTo>
                    <a:cubicBezTo>
                      <a:pt x="1744318" y="850830"/>
                      <a:pt x="1741137" y="909673"/>
                      <a:pt x="1710432" y="955358"/>
                    </a:cubicBezTo>
                    <a:cubicBezTo>
                      <a:pt x="1638614" y="1071182"/>
                      <a:pt x="1567557" y="1187577"/>
                      <a:pt x="1496691" y="1303782"/>
                    </a:cubicBezTo>
                    <a:cubicBezTo>
                      <a:pt x="1487166" y="1319498"/>
                      <a:pt x="1477641" y="1335596"/>
                      <a:pt x="1464020" y="1358837"/>
                    </a:cubicBezTo>
                    <a:lnTo>
                      <a:pt x="1742722" y="1358837"/>
                    </a:lnTo>
                    <a:lnTo>
                      <a:pt x="1742722" y="2044636"/>
                    </a:lnTo>
                    <a:lnTo>
                      <a:pt x="1240278" y="2044636"/>
                    </a:lnTo>
                    <a:cubicBezTo>
                      <a:pt x="1214846" y="2566416"/>
                      <a:pt x="1189510" y="3084862"/>
                      <a:pt x="1164078" y="3606070"/>
                    </a:cubicBezTo>
                    <a:lnTo>
                      <a:pt x="871756" y="3606070"/>
                    </a:lnTo>
                    <a:close/>
                    <a:moveTo>
                      <a:pt x="1373628" y="724662"/>
                    </a:moveTo>
                    <a:lnTo>
                      <a:pt x="1365056" y="727901"/>
                    </a:lnTo>
                    <a:cubicBezTo>
                      <a:pt x="1355277" y="824357"/>
                      <a:pt x="1345498" y="920877"/>
                      <a:pt x="1335719" y="1017460"/>
                    </a:cubicBezTo>
                    <a:cubicBezTo>
                      <a:pt x="1370978" y="973040"/>
                      <a:pt x="1402819" y="926010"/>
                      <a:pt x="1430969" y="876776"/>
                    </a:cubicBezTo>
                    <a:cubicBezTo>
                      <a:pt x="1434987" y="868922"/>
                      <a:pt x="1435607" y="859763"/>
                      <a:pt x="1432683" y="851440"/>
                    </a:cubicBezTo>
                    <a:cubicBezTo>
                      <a:pt x="1413728" y="808768"/>
                      <a:pt x="1393440" y="766858"/>
                      <a:pt x="1373628" y="724662"/>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09" name="Freihandform: Form 308">
                <a:extLst>
                  <a:ext uri="{FF2B5EF4-FFF2-40B4-BE49-F238E27FC236}">
                    <a16:creationId xmlns:a16="http://schemas.microsoft.com/office/drawing/2014/main" id="{1EEA2F8C-CD3B-FC6A-CD06-A6A4A5EF0FA5}"/>
                  </a:ext>
                </a:extLst>
              </p:cNvPr>
              <p:cNvSpPr/>
              <p:nvPr/>
            </p:nvSpPr>
            <p:spPr>
              <a:xfrm>
                <a:off x="918696" y="2196122"/>
                <a:ext cx="70058" cy="64380"/>
              </a:xfrm>
              <a:custGeom>
                <a:avLst/>
                <a:gdLst>
                  <a:gd name="connsiteX0" fmla="*/ 0 w 458050"/>
                  <a:gd name="connsiteY0" fmla="*/ 94220 h 420927"/>
                  <a:gd name="connsiteX1" fmla="*/ 309944 w 458050"/>
                  <a:gd name="connsiteY1" fmla="*/ 1732 h 420927"/>
                  <a:gd name="connsiteX2" fmla="*/ 456819 w 458050"/>
                  <a:gd name="connsiteY2" fmla="*/ 190042 h 420927"/>
                  <a:gd name="connsiteX3" fmla="*/ 449199 w 458050"/>
                  <a:gd name="connsiteY3" fmla="*/ 326725 h 420927"/>
                  <a:gd name="connsiteX4" fmla="*/ 358330 w 458050"/>
                  <a:gd name="connsiteY4" fmla="*/ 420928 h 420927"/>
                  <a:gd name="connsiteX5" fmla="*/ 256604 w 458050"/>
                  <a:gd name="connsiteY5" fmla="*/ 174421 h 420927"/>
                  <a:gd name="connsiteX6" fmla="*/ 0 w 458050"/>
                  <a:gd name="connsiteY6" fmla="*/ 94220 h 42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050" h="420927">
                    <a:moveTo>
                      <a:pt x="0" y="94220"/>
                    </a:moveTo>
                    <a:cubicBezTo>
                      <a:pt x="95060" y="32974"/>
                      <a:pt x="195644" y="-9221"/>
                      <a:pt x="309944" y="1732"/>
                    </a:cubicBezTo>
                    <a:cubicBezTo>
                      <a:pt x="384620" y="8971"/>
                      <a:pt x="447770" y="90791"/>
                      <a:pt x="456819" y="190042"/>
                    </a:cubicBezTo>
                    <a:cubicBezTo>
                      <a:pt x="460915" y="235095"/>
                      <a:pt x="453866" y="281291"/>
                      <a:pt x="449199" y="326725"/>
                    </a:cubicBezTo>
                    <a:cubicBezTo>
                      <a:pt x="443960" y="378446"/>
                      <a:pt x="412147" y="407593"/>
                      <a:pt x="358330" y="420928"/>
                    </a:cubicBezTo>
                    <a:cubicBezTo>
                      <a:pt x="350139" y="327678"/>
                      <a:pt x="328803" y="239953"/>
                      <a:pt x="256604" y="174421"/>
                    </a:cubicBezTo>
                    <a:cubicBezTo>
                      <a:pt x="184404" y="108889"/>
                      <a:pt x="93536" y="98887"/>
                      <a:pt x="0" y="94220"/>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10" name="Freihandform: Form 309">
                <a:extLst>
                  <a:ext uri="{FF2B5EF4-FFF2-40B4-BE49-F238E27FC236}">
                    <a16:creationId xmlns:a16="http://schemas.microsoft.com/office/drawing/2014/main" id="{3C1E4DD4-0010-A46E-B6E5-86A09CE53590}"/>
                  </a:ext>
                </a:extLst>
              </p:cNvPr>
              <p:cNvSpPr/>
              <p:nvPr/>
            </p:nvSpPr>
            <p:spPr>
              <a:xfrm>
                <a:off x="503996" y="2226292"/>
                <a:ext cx="59031" cy="59199"/>
              </a:xfrm>
              <a:custGeom>
                <a:avLst/>
                <a:gdLst>
                  <a:gd name="connsiteX0" fmla="*/ 0 w 385953"/>
                  <a:gd name="connsiteY0" fmla="*/ 4876 h 387056"/>
                  <a:gd name="connsiteX1" fmla="*/ 28575 w 385953"/>
                  <a:gd name="connsiteY1" fmla="*/ 2304 h 387056"/>
                  <a:gd name="connsiteX2" fmla="*/ 117253 w 385953"/>
                  <a:gd name="connsiteY2" fmla="*/ 63836 h 387056"/>
                  <a:gd name="connsiteX3" fmla="*/ 193453 w 385953"/>
                  <a:gd name="connsiteY3" fmla="*/ 286721 h 387056"/>
                  <a:gd name="connsiteX4" fmla="*/ 268319 w 385953"/>
                  <a:gd name="connsiteY4" fmla="*/ 69932 h 387056"/>
                  <a:gd name="connsiteX5" fmla="*/ 385953 w 385953"/>
                  <a:gd name="connsiteY5" fmla="*/ 8019 h 387056"/>
                  <a:gd name="connsiteX6" fmla="*/ 248031 w 385953"/>
                  <a:gd name="connsiteY6" fmla="*/ 366445 h 387056"/>
                  <a:gd name="connsiteX7" fmla="*/ 180118 w 385953"/>
                  <a:gd name="connsiteY7" fmla="*/ 387019 h 387056"/>
                  <a:gd name="connsiteX8" fmla="*/ 136208 w 385953"/>
                  <a:gd name="connsiteY8" fmla="*/ 365112 h 387056"/>
                  <a:gd name="connsiteX9" fmla="*/ 0 w 385953"/>
                  <a:gd name="connsiteY9" fmla="*/ 4876 h 38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953" h="387056">
                    <a:moveTo>
                      <a:pt x="0" y="4876"/>
                    </a:moveTo>
                    <a:cubicBezTo>
                      <a:pt x="16383" y="3447"/>
                      <a:pt x="22670" y="3447"/>
                      <a:pt x="28575" y="2304"/>
                    </a:cubicBezTo>
                    <a:cubicBezTo>
                      <a:pt x="79153" y="-7221"/>
                      <a:pt x="103727" y="12687"/>
                      <a:pt x="117253" y="63836"/>
                    </a:cubicBezTo>
                    <a:cubicBezTo>
                      <a:pt x="136303" y="136702"/>
                      <a:pt x="165735" y="206711"/>
                      <a:pt x="193453" y="286721"/>
                    </a:cubicBezTo>
                    <a:cubicBezTo>
                      <a:pt x="220123" y="209568"/>
                      <a:pt x="244031" y="139655"/>
                      <a:pt x="268319" y="69932"/>
                    </a:cubicBezTo>
                    <a:cubicBezTo>
                      <a:pt x="294704" y="-6268"/>
                      <a:pt x="294894" y="-6268"/>
                      <a:pt x="385953" y="8019"/>
                    </a:cubicBezTo>
                    <a:cubicBezTo>
                      <a:pt x="340424" y="128701"/>
                      <a:pt x="297275" y="248811"/>
                      <a:pt x="248031" y="366445"/>
                    </a:cubicBezTo>
                    <a:cubicBezTo>
                      <a:pt x="242030" y="380733"/>
                      <a:pt x="203835" y="385495"/>
                      <a:pt x="180118" y="387019"/>
                    </a:cubicBezTo>
                    <a:cubicBezTo>
                      <a:pt x="165449" y="387781"/>
                      <a:pt x="140970" y="376923"/>
                      <a:pt x="136208" y="365112"/>
                    </a:cubicBezTo>
                    <a:cubicBezTo>
                      <a:pt x="90011" y="247859"/>
                      <a:pt x="46673" y="129273"/>
                      <a:pt x="0" y="4876"/>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11" name="Freihandform: Form 310">
                <a:extLst>
                  <a:ext uri="{FF2B5EF4-FFF2-40B4-BE49-F238E27FC236}">
                    <a16:creationId xmlns:a16="http://schemas.microsoft.com/office/drawing/2014/main" id="{3782351E-9F1F-6074-3AF0-18E4561CE5D6}"/>
                  </a:ext>
                </a:extLst>
              </p:cNvPr>
              <p:cNvSpPr/>
              <p:nvPr/>
            </p:nvSpPr>
            <p:spPr>
              <a:xfrm>
                <a:off x="768298" y="2224154"/>
                <a:ext cx="39534" cy="61733"/>
              </a:xfrm>
              <a:custGeom>
                <a:avLst/>
                <a:gdLst>
                  <a:gd name="connsiteX0" fmla="*/ 181330 w 258482"/>
                  <a:gd name="connsiteY0" fmla="*/ 131255 h 403623"/>
                  <a:gd name="connsiteX1" fmla="*/ 181330 w 258482"/>
                  <a:gd name="connsiteY1" fmla="*/ 0 h 403623"/>
                  <a:gd name="connsiteX2" fmla="*/ 258482 w 258482"/>
                  <a:gd name="connsiteY2" fmla="*/ 0 h 403623"/>
                  <a:gd name="connsiteX3" fmla="*/ 258482 w 258482"/>
                  <a:gd name="connsiteY3" fmla="*/ 401479 h 403623"/>
                  <a:gd name="connsiteX4" fmla="*/ 110273 w 258482"/>
                  <a:gd name="connsiteY4" fmla="*/ 400145 h 403623"/>
                  <a:gd name="connsiteX5" fmla="*/ 355 w 258482"/>
                  <a:gd name="connsiteY5" fmla="*/ 265367 h 403623"/>
                  <a:gd name="connsiteX6" fmla="*/ 127228 w 258482"/>
                  <a:gd name="connsiteY6" fmla="*/ 131445 h 403623"/>
                  <a:gd name="connsiteX7" fmla="*/ 181330 w 258482"/>
                  <a:gd name="connsiteY7" fmla="*/ 131255 h 403623"/>
                  <a:gd name="connsiteX8" fmla="*/ 180758 w 258482"/>
                  <a:gd name="connsiteY8" fmla="*/ 333947 h 403623"/>
                  <a:gd name="connsiteX9" fmla="*/ 180758 w 258482"/>
                  <a:gd name="connsiteY9" fmla="*/ 232886 h 403623"/>
                  <a:gd name="connsiteX10" fmla="*/ 135895 w 258482"/>
                  <a:gd name="connsiteY10" fmla="*/ 198977 h 403623"/>
                  <a:gd name="connsiteX11" fmla="*/ 85984 w 258482"/>
                  <a:gd name="connsiteY11" fmla="*/ 283083 h 403623"/>
                  <a:gd name="connsiteX12" fmla="*/ 180758 w 258482"/>
                  <a:gd name="connsiteY12" fmla="*/ 333947 h 403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482" h="403623">
                    <a:moveTo>
                      <a:pt x="181330" y="131255"/>
                    </a:moveTo>
                    <a:lnTo>
                      <a:pt x="181330" y="0"/>
                    </a:lnTo>
                    <a:lnTo>
                      <a:pt x="258482" y="0"/>
                    </a:lnTo>
                    <a:lnTo>
                      <a:pt x="258482" y="401479"/>
                    </a:lnTo>
                    <a:cubicBezTo>
                      <a:pt x="209238" y="401479"/>
                      <a:pt x="158851" y="407099"/>
                      <a:pt x="110273" y="400145"/>
                    </a:cubicBezTo>
                    <a:cubicBezTo>
                      <a:pt x="32168" y="389001"/>
                      <a:pt x="-4027" y="340519"/>
                      <a:pt x="355" y="265367"/>
                    </a:cubicBezTo>
                    <a:cubicBezTo>
                      <a:pt x="4450" y="186881"/>
                      <a:pt x="50456" y="138017"/>
                      <a:pt x="127228" y="131445"/>
                    </a:cubicBezTo>
                    <a:cubicBezTo>
                      <a:pt x="142658" y="130112"/>
                      <a:pt x="158374" y="131255"/>
                      <a:pt x="181330" y="131255"/>
                    </a:cubicBezTo>
                    <a:close/>
                    <a:moveTo>
                      <a:pt x="180758" y="333947"/>
                    </a:moveTo>
                    <a:cubicBezTo>
                      <a:pt x="180758" y="298609"/>
                      <a:pt x="179520" y="265652"/>
                      <a:pt x="180758" y="232886"/>
                    </a:cubicBezTo>
                    <a:cubicBezTo>
                      <a:pt x="182377" y="198025"/>
                      <a:pt x="163423" y="192977"/>
                      <a:pt x="135895" y="198977"/>
                    </a:cubicBezTo>
                    <a:cubicBezTo>
                      <a:pt x="99796" y="206978"/>
                      <a:pt x="78745" y="242792"/>
                      <a:pt x="85984" y="283083"/>
                    </a:cubicBezTo>
                    <a:cubicBezTo>
                      <a:pt x="93985" y="327374"/>
                      <a:pt x="118750" y="341948"/>
                      <a:pt x="180758" y="333947"/>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12" name="Freihandform: Form 311">
                <a:extLst>
                  <a:ext uri="{FF2B5EF4-FFF2-40B4-BE49-F238E27FC236}">
                    <a16:creationId xmlns:a16="http://schemas.microsoft.com/office/drawing/2014/main" id="{6F7BBC7F-BC50-3CFA-0A1D-3830BF97E57C}"/>
                  </a:ext>
                </a:extLst>
              </p:cNvPr>
              <p:cNvSpPr/>
              <p:nvPr/>
            </p:nvSpPr>
            <p:spPr>
              <a:xfrm>
                <a:off x="633814" y="2224154"/>
                <a:ext cx="40100" cy="62161"/>
              </a:xfrm>
              <a:custGeom>
                <a:avLst/>
                <a:gdLst>
                  <a:gd name="connsiteX0" fmla="*/ 0 w 262183"/>
                  <a:gd name="connsiteY0" fmla="*/ 398526 h 406423"/>
                  <a:gd name="connsiteX1" fmla="*/ 0 w 262183"/>
                  <a:gd name="connsiteY1" fmla="*/ 0 h 406423"/>
                  <a:gd name="connsiteX2" fmla="*/ 76200 w 262183"/>
                  <a:gd name="connsiteY2" fmla="*/ 0 h 406423"/>
                  <a:gd name="connsiteX3" fmla="*/ 76200 w 262183"/>
                  <a:gd name="connsiteY3" fmla="*/ 139446 h 406423"/>
                  <a:gd name="connsiteX4" fmla="*/ 242221 w 262183"/>
                  <a:gd name="connsiteY4" fmla="*/ 191929 h 406423"/>
                  <a:gd name="connsiteX5" fmla="*/ 232696 w 262183"/>
                  <a:gd name="connsiteY5" fmla="*/ 349187 h 406423"/>
                  <a:gd name="connsiteX6" fmla="*/ 0 w 262183"/>
                  <a:gd name="connsiteY6" fmla="*/ 398526 h 406423"/>
                  <a:gd name="connsiteX7" fmla="*/ 77248 w 262183"/>
                  <a:gd name="connsiteY7" fmla="*/ 343376 h 406423"/>
                  <a:gd name="connsiteX8" fmla="*/ 138589 w 262183"/>
                  <a:gd name="connsiteY8" fmla="*/ 329565 h 406423"/>
                  <a:gd name="connsiteX9" fmla="*/ 168973 w 262183"/>
                  <a:gd name="connsiteY9" fmla="*/ 245936 h 406423"/>
                  <a:gd name="connsiteX10" fmla="*/ 114205 w 262183"/>
                  <a:gd name="connsiteY10" fmla="*/ 198977 h 406423"/>
                  <a:gd name="connsiteX11" fmla="*/ 76867 w 262183"/>
                  <a:gd name="connsiteY11" fmla="*/ 231648 h 406423"/>
                  <a:gd name="connsiteX12" fmla="*/ 77248 w 262183"/>
                  <a:gd name="connsiteY12" fmla="*/ 343376 h 40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183" h="406423">
                    <a:moveTo>
                      <a:pt x="0" y="398526"/>
                    </a:moveTo>
                    <a:lnTo>
                      <a:pt x="0" y="0"/>
                    </a:lnTo>
                    <a:lnTo>
                      <a:pt x="76200" y="0"/>
                    </a:lnTo>
                    <a:lnTo>
                      <a:pt x="76200" y="139446"/>
                    </a:lnTo>
                    <a:cubicBezTo>
                      <a:pt x="146209" y="122396"/>
                      <a:pt x="207836" y="126302"/>
                      <a:pt x="242221" y="191929"/>
                    </a:cubicBezTo>
                    <a:cubicBezTo>
                      <a:pt x="269272" y="243650"/>
                      <a:pt x="271367" y="302990"/>
                      <a:pt x="232696" y="349187"/>
                    </a:cubicBezTo>
                    <a:cubicBezTo>
                      <a:pt x="170402" y="422624"/>
                      <a:pt x="85249" y="407956"/>
                      <a:pt x="0" y="398526"/>
                    </a:cubicBezTo>
                    <a:close/>
                    <a:moveTo>
                      <a:pt x="77248" y="343376"/>
                    </a:moveTo>
                    <a:cubicBezTo>
                      <a:pt x="102870" y="337852"/>
                      <a:pt x="121920" y="336518"/>
                      <a:pt x="138589" y="329565"/>
                    </a:cubicBezTo>
                    <a:cubicBezTo>
                      <a:pt x="177451" y="313373"/>
                      <a:pt x="179927" y="276320"/>
                      <a:pt x="168973" y="245936"/>
                    </a:cubicBezTo>
                    <a:cubicBezTo>
                      <a:pt x="161734" y="225838"/>
                      <a:pt x="135827" y="207836"/>
                      <a:pt x="114205" y="198977"/>
                    </a:cubicBezTo>
                    <a:cubicBezTo>
                      <a:pt x="92583" y="190119"/>
                      <a:pt x="76105" y="203359"/>
                      <a:pt x="76867" y="231648"/>
                    </a:cubicBezTo>
                    <a:cubicBezTo>
                      <a:pt x="78296" y="265938"/>
                      <a:pt x="77248" y="300323"/>
                      <a:pt x="77248" y="343376"/>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13" name="Freihandform: Form 312">
                <a:extLst>
                  <a:ext uri="{FF2B5EF4-FFF2-40B4-BE49-F238E27FC236}">
                    <a16:creationId xmlns:a16="http://schemas.microsoft.com/office/drawing/2014/main" id="{F84D164C-0C9A-273D-B5B9-CBFBCA241793}"/>
                  </a:ext>
                </a:extLst>
              </p:cNvPr>
              <p:cNvSpPr/>
              <p:nvPr/>
            </p:nvSpPr>
            <p:spPr>
              <a:xfrm>
                <a:off x="679049" y="2245613"/>
                <a:ext cx="37398" cy="40398"/>
              </a:xfrm>
              <a:custGeom>
                <a:avLst/>
                <a:gdLst>
                  <a:gd name="connsiteX0" fmla="*/ 949 w 244513"/>
                  <a:gd name="connsiteY0" fmla="*/ 0 h 264128"/>
                  <a:gd name="connsiteX1" fmla="*/ 84198 w 244513"/>
                  <a:gd name="connsiteY1" fmla="*/ 0 h 264128"/>
                  <a:gd name="connsiteX2" fmla="*/ 84198 w 244513"/>
                  <a:gd name="connsiteY2" fmla="*/ 130873 h 264128"/>
                  <a:gd name="connsiteX3" fmla="*/ 159540 w 244513"/>
                  <a:gd name="connsiteY3" fmla="*/ 188023 h 264128"/>
                  <a:gd name="connsiteX4" fmla="*/ 159540 w 244513"/>
                  <a:gd name="connsiteY4" fmla="*/ 2286 h 264128"/>
                  <a:gd name="connsiteX5" fmla="*/ 244408 w 244513"/>
                  <a:gd name="connsiteY5" fmla="*/ 2286 h 264128"/>
                  <a:gd name="connsiteX6" fmla="*/ 243456 w 244513"/>
                  <a:gd name="connsiteY6" fmla="*/ 236315 h 264128"/>
                  <a:gd name="connsiteX7" fmla="*/ 222215 w 244513"/>
                  <a:gd name="connsiteY7" fmla="*/ 255365 h 264128"/>
                  <a:gd name="connsiteX8" fmla="*/ 94770 w 244513"/>
                  <a:gd name="connsiteY8" fmla="*/ 263557 h 264128"/>
                  <a:gd name="connsiteX9" fmla="*/ 1521 w 244513"/>
                  <a:gd name="connsiteY9" fmla="*/ 170783 h 264128"/>
                  <a:gd name="connsiteX10" fmla="*/ 949 w 244513"/>
                  <a:gd name="connsiteY10" fmla="*/ 0 h 264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513" h="264128">
                    <a:moveTo>
                      <a:pt x="949" y="0"/>
                    </a:moveTo>
                    <a:lnTo>
                      <a:pt x="84198" y="0"/>
                    </a:lnTo>
                    <a:cubicBezTo>
                      <a:pt x="84198" y="43624"/>
                      <a:pt x="84198" y="87249"/>
                      <a:pt x="84198" y="130873"/>
                    </a:cubicBezTo>
                    <a:cubicBezTo>
                      <a:pt x="84198" y="191071"/>
                      <a:pt x="93723" y="199072"/>
                      <a:pt x="159540" y="188023"/>
                    </a:cubicBezTo>
                    <a:lnTo>
                      <a:pt x="159540" y="2286"/>
                    </a:lnTo>
                    <a:lnTo>
                      <a:pt x="244408" y="2286"/>
                    </a:lnTo>
                    <a:cubicBezTo>
                      <a:pt x="244408" y="79343"/>
                      <a:pt x="244980" y="157829"/>
                      <a:pt x="243456" y="236315"/>
                    </a:cubicBezTo>
                    <a:cubicBezTo>
                      <a:pt x="243456" y="243078"/>
                      <a:pt x="230216" y="254603"/>
                      <a:pt x="222215" y="255365"/>
                    </a:cubicBezTo>
                    <a:cubicBezTo>
                      <a:pt x="179828" y="259937"/>
                      <a:pt x="136966" y="266033"/>
                      <a:pt x="94770" y="263557"/>
                    </a:cubicBezTo>
                    <a:cubicBezTo>
                      <a:pt x="34191" y="260033"/>
                      <a:pt x="5616" y="231172"/>
                      <a:pt x="1521" y="170783"/>
                    </a:cubicBezTo>
                    <a:cubicBezTo>
                      <a:pt x="-1527" y="115919"/>
                      <a:pt x="949" y="60579"/>
                      <a:pt x="949" y="0"/>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14" name="Freihandform: Form 313">
                <a:extLst>
                  <a:ext uri="{FF2B5EF4-FFF2-40B4-BE49-F238E27FC236}">
                    <a16:creationId xmlns:a16="http://schemas.microsoft.com/office/drawing/2014/main" id="{91901BF2-54DB-B88F-99FD-9F45D52C9BCB}"/>
                  </a:ext>
                </a:extLst>
              </p:cNvPr>
              <p:cNvSpPr/>
              <p:nvPr/>
            </p:nvSpPr>
            <p:spPr>
              <a:xfrm>
                <a:off x="556426" y="2244120"/>
                <a:ext cx="38435" cy="42523"/>
              </a:xfrm>
              <a:custGeom>
                <a:avLst/>
                <a:gdLst>
                  <a:gd name="connsiteX0" fmla="*/ 249946 w 251297"/>
                  <a:gd name="connsiteY0" fmla="*/ 162446 h 278021"/>
                  <a:gd name="connsiteX1" fmla="*/ 82210 w 251297"/>
                  <a:gd name="connsiteY1" fmla="*/ 162446 h 278021"/>
                  <a:gd name="connsiteX2" fmla="*/ 234610 w 251297"/>
                  <a:gd name="connsiteY2" fmla="*/ 195308 h 278021"/>
                  <a:gd name="connsiteX3" fmla="*/ 176603 w 251297"/>
                  <a:gd name="connsiteY3" fmla="*/ 275032 h 278021"/>
                  <a:gd name="connsiteX4" fmla="*/ 105 w 251297"/>
                  <a:gd name="connsiteY4" fmla="*/ 149683 h 278021"/>
                  <a:gd name="connsiteX5" fmla="*/ 136789 w 251297"/>
                  <a:gd name="connsiteY5" fmla="*/ 45 h 278021"/>
                  <a:gd name="connsiteX6" fmla="*/ 249946 w 251297"/>
                  <a:gd name="connsiteY6" fmla="*/ 162446 h 278021"/>
                  <a:gd name="connsiteX7" fmla="*/ 171555 w 251297"/>
                  <a:gd name="connsiteY7" fmla="*/ 102439 h 278021"/>
                  <a:gd name="connsiteX8" fmla="*/ 179080 w 251297"/>
                  <a:gd name="connsiteY8" fmla="*/ 88723 h 278021"/>
                  <a:gd name="connsiteX9" fmla="*/ 128407 w 251297"/>
                  <a:gd name="connsiteY9" fmla="*/ 60148 h 278021"/>
                  <a:gd name="connsiteX10" fmla="*/ 80115 w 251297"/>
                  <a:gd name="connsiteY10" fmla="*/ 92819 h 278021"/>
                  <a:gd name="connsiteX11" fmla="*/ 88402 w 251297"/>
                  <a:gd name="connsiteY11" fmla="*/ 102344 h 278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297" h="278021">
                    <a:moveTo>
                      <a:pt x="249946" y="162446"/>
                    </a:moveTo>
                    <a:lnTo>
                      <a:pt x="82210" y="162446"/>
                    </a:lnTo>
                    <a:cubicBezTo>
                      <a:pt x="102118" y="220168"/>
                      <a:pt x="138789" y="227121"/>
                      <a:pt x="234610" y="195308"/>
                    </a:cubicBezTo>
                    <a:cubicBezTo>
                      <a:pt x="243278" y="257030"/>
                      <a:pt x="236801" y="265888"/>
                      <a:pt x="176603" y="275032"/>
                    </a:cubicBezTo>
                    <a:cubicBezTo>
                      <a:pt x="71257" y="290939"/>
                      <a:pt x="2867" y="242552"/>
                      <a:pt x="105" y="149683"/>
                    </a:cubicBezTo>
                    <a:cubicBezTo>
                      <a:pt x="-2657" y="56814"/>
                      <a:pt x="49349" y="-1860"/>
                      <a:pt x="136789" y="45"/>
                    </a:cubicBezTo>
                    <a:cubicBezTo>
                      <a:pt x="218323" y="1950"/>
                      <a:pt x="259471" y="57767"/>
                      <a:pt x="249946" y="162446"/>
                    </a:cubicBezTo>
                    <a:close/>
                    <a:moveTo>
                      <a:pt x="171555" y="102439"/>
                    </a:moveTo>
                    <a:lnTo>
                      <a:pt x="179080" y="88723"/>
                    </a:lnTo>
                    <a:cubicBezTo>
                      <a:pt x="162125" y="78436"/>
                      <a:pt x="144885" y="59576"/>
                      <a:pt x="128407" y="60148"/>
                    </a:cubicBezTo>
                    <a:cubicBezTo>
                      <a:pt x="111928" y="60719"/>
                      <a:pt x="96212" y="81103"/>
                      <a:pt x="80115" y="92819"/>
                    </a:cubicBezTo>
                    <a:lnTo>
                      <a:pt x="88402" y="102344"/>
                    </a:ln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15" name="Freihandform: Form 314">
                <a:extLst>
                  <a:ext uri="{FF2B5EF4-FFF2-40B4-BE49-F238E27FC236}">
                    <a16:creationId xmlns:a16="http://schemas.microsoft.com/office/drawing/2014/main" id="{06CE5BE1-A855-D54E-553C-23204590C07E}"/>
                  </a:ext>
                </a:extLst>
              </p:cNvPr>
              <p:cNvSpPr/>
              <p:nvPr/>
            </p:nvSpPr>
            <p:spPr>
              <a:xfrm>
                <a:off x="725182" y="2245348"/>
                <a:ext cx="37001" cy="39934"/>
              </a:xfrm>
              <a:custGeom>
                <a:avLst/>
                <a:gdLst>
                  <a:gd name="connsiteX0" fmla="*/ 214 w 241916"/>
                  <a:gd name="connsiteY0" fmla="*/ 261098 h 261098"/>
                  <a:gd name="connsiteX1" fmla="*/ 1072 w 241916"/>
                  <a:gd name="connsiteY1" fmla="*/ 37165 h 261098"/>
                  <a:gd name="connsiteX2" fmla="*/ 20693 w 241916"/>
                  <a:gd name="connsiteY2" fmla="*/ 6590 h 261098"/>
                  <a:gd name="connsiteX3" fmla="*/ 184142 w 241916"/>
                  <a:gd name="connsiteY3" fmla="*/ 3352 h 261098"/>
                  <a:gd name="connsiteX4" fmla="*/ 237863 w 241916"/>
                  <a:gd name="connsiteY4" fmla="*/ 63645 h 261098"/>
                  <a:gd name="connsiteX5" fmla="*/ 240340 w 241916"/>
                  <a:gd name="connsiteY5" fmla="*/ 260336 h 261098"/>
                  <a:gd name="connsiteX6" fmla="*/ 161854 w 241916"/>
                  <a:gd name="connsiteY6" fmla="*/ 260336 h 261098"/>
                  <a:gd name="connsiteX7" fmla="*/ 160234 w 241916"/>
                  <a:gd name="connsiteY7" fmla="*/ 108508 h 261098"/>
                  <a:gd name="connsiteX8" fmla="*/ 126802 w 241916"/>
                  <a:gd name="connsiteY8" fmla="*/ 60883 h 261098"/>
                  <a:gd name="connsiteX9" fmla="*/ 79177 w 241916"/>
                  <a:gd name="connsiteY9" fmla="*/ 97649 h 261098"/>
                  <a:gd name="connsiteX10" fmla="*/ 79748 w 241916"/>
                  <a:gd name="connsiteY10" fmla="*/ 260812 h 26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916" h="261098">
                    <a:moveTo>
                      <a:pt x="214" y="261098"/>
                    </a:moveTo>
                    <a:cubicBezTo>
                      <a:pt x="214" y="182612"/>
                      <a:pt x="-643" y="109841"/>
                      <a:pt x="1072" y="37165"/>
                    </a:cubicBezTo>
                    <a:cubicBezTo>
                      <a:pt x="1072" y="26402"/>
                      <a:pt x="13168" y="7257"/>
                      <a:pt x="20693" y="6590"/>
                    </a:cubicBezTo>
                    <a:cubicBezTo>
                      <a:pt x="75176" y="2399"/>
                      <a:pt x="130707" y="-3983"/>
                      <a:pt x="184142" y="3352"/>
                    </a:cubicBezTo>
                    <a:cubicBezTo>
                      <a:pt x="205288" y="6209"/>
                      <a:pt x="235196" y="40785"/>
                      <a:pt x="237863" y="63645"/>
                    </a:cubicBezTo>
                    <a:cubicBezTo>
                      <a:pt x="245197" y="127272"/>
                      <a:pt x="240340" y="192328"/>
                      <a:pt x="240340" y="260336"/>
                    </a:cubicBezTo>
                    <a:lnTo>
                      <a:pt x="161854" y="260336"/>
                    </a:lnTo>
                    <a:cubicBezTo>
                      <a:pt x="161854" y="208711"/>
                      <a:pt x="164711" y="158323"/>
                      <a:pt x="160234" y="108508"/>
                    </a:cubicBezTo>
                    <a:cubicBezTo>
                      <a:pt x="158710" y="91267"/>
                      <a:pt x="142137" y="66693"/>
                      <a:pt x="126802" y="60883"/>
                    </a:cubicBezTo>
                    <a:cubicBezTo>
                      <a:pt x="101846" y="52024"/>
                      <a:pt x="77176" y="59263"/>
                      <a:pt x="79177" y="97649"/>
                    </a:cubicBezTo>
                    <a:cubicBezTo>
                      <a:pt x="81367" y="151084"/>
                      <a:pt x="79748" y="204615"/>
                      <a:pt x="79748" y="260812"/>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16" name="Freihandform: Form 315">
                <a:extLst>
                  <a:ext uri="{FF2B5EF4-FFF2-40B4-BE49-F238E27FC236}">
                    <a16:creationId xmlns:a16="http://schemas.microsoft.com/office/drawing/2014/main" id="{0013C779-18CE-C27B-82B0-8732E2FC3B76}"/>
                  </a:ext>
                </a:extLst>
              </p:cNvPr>
              <p:cNvSpPr/>
              <p:nvPr/>
            </p:nvSpPr>
            <p:spPr>
              <a:xfrm>
                <a:off x="600737" y="2244459"/>
                <a:ext cx="27920" cy="40678"/>
              </a:xfrm>
              <a:custGeom>
                <a:avLst/>
                <a:gdLst>
                  <a:gd name="connsiteX0" fmla="*/ 180353 w 182548"/>
                  <a:gd name="connsiteY0" fmla="*/ 68696 h 265958"/>
                  <a:gd name="connsiteX1" fmla="*/ 84055 w 182548"/>
                  <a:gd name="connsiteY1" fmla="*/ 167565 h 265958"/>
                  <a:gd name="connsiteX2" fmla="*/ 84055 w 182548"/>
                  <a:gd name="connsiteY2" fmla="*/ 265958 h 265958"/>
                  <a:gd name="connsiteX3" fmla="*/ 1664 w 182548"/>
                  <a:gd name="connsiteY3" fmla="*/ 265958 h 265958"/>
                  <a:gd name="connsiteX4" fmla="*/ 5950 w 182548"/>
                  <a:gd name="connsiteY4" fmla="*/ 39740 h 265958"/>
                  <a:gd name="connsiteX5" fmla="*/ 96152 w 182548"/>
                  <a:gd name="connsiteY5" fmla="*/ 1163 h 265958"/>
                  <a:gd name="connsiteX6" fmla="*/ 179400 w 182548"/>
                  <a:gd name="connsiteY6" fmla="*/ 15927 h 265958"/>
                  <a:gd name="connsiteX7" fmla="*/ 180353 w 182548"/>
                  <a:gd name="connsiteY7" fmla="*/ 68696 h 265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548" h="265958">
                    <a:moveTo>
                      <a:pt x="180353" y="68696"/>
                    </a:moveTo>
                    <a:cubicBezTo>
                      <a:pt x="84055" y="72506"/>
                      <a:pt x="84055" y="72506"/>
                      <a:pt x="84055" y="167565"/>
                    </a:cubicBezTo>
                    <a:lnTo>
                      <a:pt x="84055" y="265958"/>
                    </a:lnTo>
                    <a:lnTo>
                      <a:pt x="1664" y="265958"/>
                    </a:lnTo>
                    <a:cubicBezTo>
                      <a:pt x="1664" y="189758"/>
                      <a:pt x="-4147" y="113558"/>
                      <a:pt x="5950" y="39740"/>
                    </a:cubicBezTo>
                    <a:cubicBezTo>
                      <a:pt x="8236" y="22499"/>
                      <a:pt x="63100" y="6593"/>
                      <a:pt x="96152" y="1163"/>
                    </a:cubicBezTo>
                    <a:cubicBezTo>
                      <a:pt x="122822" y="-3218"/>
                      <a:pt x="153302" y="5450"/>
                      <a:pt x="179400" y="15927"/>
                    </a:cubicBezTo>
                    <a:cubicBezTo>
                      <a:pt x="185877" y="18499"/>
                      <a:pt x="180353" y="50503"/>
                      <a:pt x="180353" y="68696"/>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17" name="Freihandform: Form 316">
                <a:extLst>
                  <a:ext uri="{FF2B5EF4-FFF2-40B4-BE49-F238E27FC236}">
                    <a16:creationId xmlns:a16="http://schemas.microsoft.com/office/drawing/2014/main" id="{21AF7FF3-BEF4-B43C-1CBB-E2246826CF22}"/>
                  </a:ext>
                </a:extLst>
              </p:cNvPr>
              <p:cNvSpPr/>
              <p:nvPr/>
            </p:nvSpPr>
            <p:spPr>
              <a:xfrm>
                <a:off x="1035520" y="2391412"/>
                <a:ext cx="15109" cy="44783"/>
              </a:xfrm>
              <a:custGeom>
                <a:avLst/>
                <a:gdLst>
                  <a:gd name="connsiteX0" fmla="*/ 38100 w 98784"/>
                  <a:gd name="connsiteY0" fmla="*/ 0 h 292798"/>
                  <a:gd name="connsiteX1" fmla="*/ 96964 w 98784"/>
                  <a:gd name="connsiteY1" fmla="*/ 126778 h 292798"/>
                  <a:gd name="connsiteX2" fmla="*/ 95250 w 98784"/>
                  <a:gd name="connsiteY2" fmla="*/ 152114 h 292798"/>
                  <a:gd name="connsiteX3" fmla="*/ 0 w 98784"/>
                  <a:gd name="connsiteY3" fmla="*/ 292799 h 292798"/>
                  <a:gd name="connsiteX4" fmla="*/ 30004 w 98784"/>
                  <a:gd name="connsiteY4" fmla="*/ 3238 h 29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84" h="292798">
                    <a:moveTo>
                      <a:pt x="38100" y="0"/>
                    </a:moveTo>
                    <a:cubicBezTo>
                      <a:pt x="57912" y="42196"/>
                      <a:pt x="78200" y="84106"/>
                      <a:pt x="96964" y="126778"/>
                    </a:cubicBezTo>
                    <a:cubicBezTo>
                      <a:pt x="99889" y="135101"/>
                      <a:pt x="99269" y="144260"/>
                      <a:pt x="95250" y="152114"/>
                    </a:cubicBezTo>
                    <a:cubicBezTo>
                      <a:pt x="67101" y="201348"/>
                      <a:pt x="35259" y="248378"/>
                      <a:pt x="0" y="292799"/>
                    </a:cubicBezTo>
                    <a:cubicBezTo>
                      <a:pt x="9842" y="196405"/>
                      <a:pt x="19844" y="99885"/>
                      <a:pt x="30004" y="3238"/>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grpSp>
      </p:grpSp>
      <p:sp>
        <p:nvSpPr>
          <p:cNvPr id="324" name="Textfeld 323">
            <a:extLst>
              <a:ext uri="{FF2B5EF4-FFF2-40B4-BE49-F238E27FC236}">
                <a16:creationId xmlns:a16="http://schemas.microsoft.com/office/drawing/2014/main" id="{3735E0B1-7A8D-F73A-C4E4-3185EB41D47B}"/>
              </a:ext>
            </a:extLst>
          </p:cNvPr>
          <p:cNvSpPr txBox="1"/>
          <p:nvPr/>
        </p:nvSpPr>
        <p:spPr>
          <a:xfrm>
            <a:off x="2103061" y="3496651"/>
            <a:ext cx="1144544" cy="69249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Austria-wide</a:t>
            </a:r>
            <a:br>
              <a:rPr kumimoji="0" lang="en-gb" sz="1000" b="0" i="0" u="none" strike="noStrike" kern="1200" cap="none" spc="0" normalizeH="0" baseline="0">
                <a:ln>
                  <a:noFill/>
                </a:ln>
                <a:effectLst/>
                <a:uLnTx/>
                <a:uFillTx/>
                <a:latin typeface="Arial"/>
                <a:ea typeface="MS PGothic"/>
                <a:cs typeface="+mn-cs"/>
              </a:rPr>
            </a:br>
            <a:r>
              <a:rPr lang="en-gb" sz="1500" b="1" i="0" u="none" baseline="0">
                <a:latin typeface="Arial"/>
                <a:ea typeface="MS PGothic"/>
              </a:rPr>
              <a:t>charging</a:t>
            </a:r>
            <a:br>
              <a:rPr lang="en-gb" sz="1500" b="1">
                <a:latin typeface="Arial"/>
                <a:ea typeface="MS PGothic"/>
              </a:rPr>
            </a:br>
            <a:r>
              <a:rPr lang="en-gb" sz="1500" b="1" i="0" u="none" baseline="0">
                <a:latin typeface="Arial"/>
                <a:ea typeface="MS PGothic"/>
              </a:rPr>
              <a:t>infrastructure</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for electric vehicles </a:t>
            </a:r>
          </a:p>
        </p:txBody>
      </p:sp>
      <p:sp>
        <p:nvSpPr>
          <p:cNvPr id="325" name="Rechteck 324">
            <a:extLst>
              <a:ext uri="{FF2B5EF4-FFF2-40B4-BE49-F238E27FC236}">
                <a16:creationId xmlns:a16="http://schemas.microsoft.com/office/drawing/2014/main" id="{CE7A52AE-AD8F-7753-B4D4-E8B037EB3FF7}"/>
              </a:ext>
            </a:extLst>
          </p:cNvPr>
          <p:cNvSpPr/>
          <p:nvPr/>
        </p:nvSpPr>
        <p:spPr>
          <a:xfrm>
            <a:off x="3680482" y="2944091"/>
            <a:ext cx="1414169" cy="1154162"/>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i="0" u="none" baseline="0">
                <a:latin typeface="Arial"/>
                <a:ea typeface="MS PGothic"/>
              </a:rPr>
              <a:t>Social</a:t>
            </a:r>
            <a:br>
              <a:rPr lang="en-gb" sz="1500" b="1">
                <a:latin typeface="Arial"/>
                <a:ea typeface="MS PGothic"/>
              </a:rPr>
            </a:br>
            <a:r>
              <a:rPr lang="en-gb" sz="1500" b="1" i="0" u="none" baseline="0">
                <a:latin typeface="Arial"/>
                <a:ea typeface="MS PGothic"/>
              </a:rPr>
              <a:t>Responsibil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20" normalizeH="0" baseline="0">
                <a:ln>
                  <a:noFill/>
                </a:ln>
                <a:effectLst/>
                <a:uLnTx/>
                <a:uFillTx/>
                <a:latin typeface="Arial"/>
                <a:ea typeface="MS PGothic"/>
                <a:cs typeface="+mn-cs"/>
              </a:rPr>
              <a:t>&gt;€3.3m in contributions</a:t>
            </a:r>
            <a:br>
              <a:rPr kumimoji="0" lang="en-gb" sz="1000" b="0" i="0" u="none" strike="noStrike" kern="1200" cap="none" spc="-20" normalizeH="0" baseline="0">
                <a:ln>
                  <a:noFill/>
                </a:ln>
                <a:effectLst/>
                <a:uLnTx/>
                <a:uFillTx/>
                <a:latin typeface="Arial"/>
                <a:ea typeface="MS PGothic"/>
                <a:cs typeface="+mn-cs"/>
              </a:rPr>
            </a:br>
            <a:r>
              <a:rPr kumimoji="0" lang="en-gb" sz="1000" b="0" i="0" u="none" strike="noStrike" kern="1200" cap="none" spc="-20" normalizeH="0" baseline="0">
                <a:ln>
                  <a:noFill/>
                </a:ln>
                <a:effectLst/>
                <a:uLnTx/>
                <a:uFillTx/>
                <a:latin typeface="Arial"/>
                <a:ea typeface="MS PGothic"/>
                <a:cs typeface="+mn-cs"/>
              </a:rPr>
              <a:t>to VERBUND electricity aid</a:t>
            </a:r>
            <a:br>
              <a:rPr kumimoji="0" lang="en-gb" sz="1000" b="0" i="0" u="none" strike="noStrike" kern="1200" cap="none" spc="-20" normalizeH="0" baseline="0">
                <a:ln>
                  <a:noFill/>
                </a:ln>
                <a:effectLst/>
                <a:uLnTx/>
                <a:uFillTx/>
                <a:latin typeface="Arial"/>
                <a:ea typeface="MS PGothic"/>
                <a:cs typeface="+mn-cs"/>
              </a:rPr>
            </a:br>
            <a:r>
              <a:rPr kumimoji="0" lang="en-gb" sz="1000" b="0" i="0" u="none" strike="noStrike" kern="1200" cap="none" spc="-20" normalizeH="0" baseline="0">
                <a:ln>
                  <a:noFill/>
                </a:ln>
                <a:effectLst/>
                <a:uLnTx/>
                <a:uFillTx/>
                <a:latin typeface="Arial"/>
                <a:ea typeface="MS PGothic"/>
                <a:cs typeface="+mn-cs"/>
              </a:rPr>
              <a:t>fund of </a:t>
            </a:r>
            <a:r>
              <a:rPr lang="en-gb" sz="1500" b="1" i="0" u="none" baseline="0">
                <a:latin typeface="Arial"/>
                <a:ea typeface="MS PGothic"/>
              </a:rPr>
              <a:t>Caritas</a:t>
            </a:r>
            <a:br>
              <a:rPr lang="en-gb" sz="1000" spc="-20">
                <a:latin typeface="Arial"/>
                <a:ea typeface="MS PGothic"/>
              </a:rPr>
            </a:br>
            <a:r>
              <a:rPr kumimoji="0" lang="en-gb" sz="1000" b="0" i="0" u="none" strike="noStrike" kern="1200" cap="none" spc="-20" normalizeH="0" baseline="0">
                <a:ln>
                  <a:noFill/>
                </a:ln>
                <a:effectLst/>
                <a:uLnTx/>
                <a:uFillTx/>
                <a:latin typeface="Arial"/>
                <a:ea typeface="MS PGothic"/>
                <a:cs typeface="+mn-cs"/>
              </a:rPr>
              <a:t>since 2009</a:t>
            </a:r>
          </a:p>
        </p:txBody>
      </p:sp>
      <p:sp>
        <p:nvSpPr>
          <p:cNvPr id="326" name="Textfeld 325">
            <a:extLst>
              <a:ext uri="{FF2B5EF4-FFF2-40B4-BE49-F238E27FC236}">
                <a16:creationId xmlns:a16="http://schemas.microsoft.com/office/drawing/2014/main" id="{C73D29EB-3B0D-DC62-F1D5-DA273362F8D3}"/>
              </a:ext>
            </a:extLst>
          </p:cNvPr>
          <p:cNvSpPr txBox="1"/>
          <p:nvPr/>
        </p:nvSpPr>
        <p:spPr>
          <a:xfrm>
            <a:off x="8915129" y="1720501"/>
            <a:ext cx="1218282" cy="76174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Austria’s </a:t>
            </a:r>
            <a:br>
              <a:rPr lang="en-gb" sz="1000" b="0" i="0" u="none" strike="noStrike" kern="1200" cap="none" spc="0" baseline="0">
                <a:latin typeface="Arial"/>
                <a:ea typeface="MS PGothic"/>
                <a:cs typeface="Arial"/>
              </a:rPr>
            </a:br>
            <a:r>
              <a:rPr lang="en-gb" sz="1500" b="1" i="0" u="none" baseline="0">
                <a:latin typeface="Arial"/>
                <a:ea typeface="MS PGothic"/>
              </a:rPr>
              <a:t>leading </a:t>
            </a:r>
            <a:br>
              <a:rPr lang="en-gb" sz="1500" b="1">
                <a:latin typeface="Arial"/>
                <a:ea typeface="MS PGothic"/>
              </a:rPr>
            </a:br>
            <a:r>
              <a:rPr lang="en-gb" sz="1500" b="1" i="0" u="none" baseline="0">
                <a:latin typeface="Arial"/>
                <a:ea typeface="MS PGothic"/>
              </a:rPr>
              <a:t>energy</a:t>
            </a:r>
            <a:br>
              <a:rPr lang="en-gb" sz="1500" b="1">
                <a:latin typeface="Arial"/>
                <a:ea typeface="MS PGothic"/>
              </a:rPr>
            </a:br>
            <a:r>
              <a:rPr lang="en-gb" sz="1500" b="1" i="0" u="none" baseline="0">
                <a:latin typeface="Arial"/>
                <a:ea typeface="MS PGothic"/>
              </a:rPr>
              <a:t>company</a:t>
            </a:r>
          </a:p>
        </p:txBody>
      </p:sp>
      <p:sp>
        <p:nvSpPr>
          <p:cNvPr id="327" name="Textfeld 326">
            <a:extLst>
              <a:ext uri="{FF2B5EF4-FFF2-40B4-BE49-F238E27FC236}">
                <a16:creationId xmlns:a16="http://schemas.microsoft.com/office/drawing/2014/main" id="{07490EC1-DC88-A067-E33C-D581EE2F69D9}"/>
              </a:ext>
            </a:extLst>
          </p:cNvPr>
          <p:cNvSpPr txBox="1"/>
          <p:nvPr/>
        </p:nvSpPr>
        <p:spPr>
          <a:xfrm>
            <a:off x="10609731" y="1159985"/>
            <a:ext cx="1253548" cy="777136"/>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90000"/>
              </a:lnSpc>
              <a:spcBef>
                <a:spcPts val="0"/>
              </a:spcBef>
              <a:spcAft>
                <a:spcPts val="0"/>
              </a:spcAft>
              <a:buClr>
                <a:srgbClr val="00488E"/>
              </a:buClr>
              <a:buSzTx/>
              <a:buFontTx/>
              <a:buNone/>
              <a:tabLst/>
              <a:defRPr/>
            </a:pPr>
            <a:r>
              <a:rPr kumimoji="0" lang="en-gb" sz="1000" b="0" i="0" u="none" strike="noStrike" kern="1200" cap="none" spc="0" normalizeH="0" baseline="0">
                <a:ln>
                  <a:noFill/>
                </a:ln>
                <a:effectLst/>
                <a:uLnTx/>
                <a:uFillTx/>
                <a:latin typeface="Arial"/>
                <a:ea typeface="MS PGothic"/>
                <a:cs typeface="+mn-cs"/>
              </a:rPr>
              <a:t>up to </a:t>
            </a:r>
            <a:r>
              <a:rPr lang="en-gb" sz="1500" b="1" i="0" u="none" baseline="0">
                <a:latin typeface="Arial"/>
                <a:ea typeface="MS PGothic"/>
              </a:rPr>
              <a:t>¼ of</a:t>
            </a:r>
            <a:br>
              <a:rPr lang="en-gb" sz="1500" b="1">
                <a:latin typeface="Arial"/>
                <a:ea typeface="MS PGothic"/>
              </a:rPr>
            </a:br>
            <a:r>
              <a:rPr lang="en-gb" sz="1500" b="1" i="0" u="none" baseline="0">
                <a:latin typeface="Arial"/>
                <a:ea typeface="MS PGothic"/>
              </a:rPr>
              <a:t>total</a:t>
            </a:r>
            <a:br>
              <a:rPr lang="en-gb" sz="1500" b="1">
                <a:latin typeface="Arial"/>
                <a:ea typeface="MS PGothic"/>
              </a:rPr>
            </a:br>
            <a:r>
              <a:rPr lang="en-gb" sz="1500" b="1" i="0" u="none" baseline="0">
                <a:latin typeface="Arial"/>
                <a:ea typeface="MS PGothic"/>
              </a:rPr>
              <a:t>generation</a:t>
            </a:r>
            <a:endParaRPr lang="en-gb" sz="1500" b="1" dirty="0">
              <a:latin typeface="Arial"/>
              <a:ea typeface="MS PGothic"/>
            </a:endParaRPr>
          </a:p>
          <a:p>
            <a:pPr marL="0" marR="0" lvl="0" indent="0" algn="ctr" defTabSz="914400" rtl="0" eaLnBrk="1" fontAlgn="auto" latinLnBrk="0" hangingPunct="1">
              <a:lnSpc>
                <a:spcPct val="100000"/>
              </a:lnSpc>
              <a:spcBef>
                <a:spcPts val="0"/>
              </a:spcBef>
              <a:spcAft>
                <a:spcPts val="0"/>
              </a:spcAft>
              <a:buClr>
                <a:srgbClr val="00488E"/>
              </a:buClr>
              <a:buSzTx/>
              <a:buFontTx/>
              <a:buNone/>
              <a:tabLst/>
              <a:defRPr/>
            </a:pPr>
            <a:r>
              <a:rPr kumimoji="0" lang="en-gb" sz="1000" b="0" i="0" u="none" strike="noStrike" kern="1200" cap="none" spc="0" normalizeH="0" baseline="0">
                <a:ln>
                  <a:noFill/>
                </a:ln>
                <a:effectLst/>
                <a:uLnTx/>
                <a:uFillTx/>
                <a:latin typeface="Arial"/>
                <a:ea typeface="MS PGothic"/>
                <a:cs typeface="+mn-cs"/>
              </a:rPr>
              <a:t>from wind/PV by 2030</a:t>
            </a:r>
          </a:p>
        </p:txBody>
      </p:sp>
      <p:grpSp>
        <p:nvGrpSpPr>
          <p:cNvPr id="328" name="Gruppieren 327">
            <a:extLst>
              <a:ext uri="{FF2B5EF4-FFF2-40B4-BE49-F238E27FC236}">
                <a16:creationId xmlns:a16="http://schemas.microsoft.com/office/drawing/2014/main" id="{02693281-6C8C-9D7F-AB0D-FE4F5F5E9F22}"/>
              </a:ext>
            </a:extLst>
          </p:cNvPr>
          <p:cNvGrpSpPr/>
          <p:nvPr/>
        </p:nvGrpSpPr>
        <p:grpSpPr>
          <a:xfrm>
            <a:off x="10880651" y="2064109"/>
            <a:ext cx="711706" cy="443787"/>
            <a:chOff x="6038714" y="2514828"/>
            <a:chExt cx="710580" cy="443787"/>
          </a:xfrm>
        </p:grpSpPr>
        <p:pic>
          <p:nvPicPr>
            <p:cNvPr id="329" name="Grafik 328">
              <a:extLst>
                <a:ext uri="{FF2B5EF4-FFF2-40B4-BE49-F238E27FC236}">
                  <a16:creationId xmlns:a16="http://schemas.microsoft.com/office/drawing/2014/main" id="{64D9B807-94A6-2B3E-A45E-8635FA7053C1}"/>
                </a:ext>
              </a:extLst>
            </p:cNvPr>
            <p:cNvPicPr>
              <a:picLocks noChangeAspect="1"/>
            </p:cNvPicPr>
            <p:nvPr/>
          </p:nvPicPr>
          <p:blipFill>
            <a:blip r:embed="rId54" cstate="screen">
              <a:extLst>
                <a:ext uri="{28A0092B-C50C-407E-A947-70E740481C1C}">
                  <a14:useLocalDpi xmlns:a14="http://schemas.microsoft.com/office/drawing/2010/main"/>
                </a:ext>
              </a:extLst>
            </a:blip>
            <a:stretch>
              <a:fillRect/>
            </a:stretch>
          </p:blipFill>
          <p:spPr>
            <a:xfrm>
              <a:off x="6375582" y="2730476"/>
              <a:ext cx="373712" cy="228139"/>
            </a:xfrm>
            <a:prstGeom prst="rect">
              <a:avLst/>
            </a:prstGeom>
          </p:spPr>
        </p:pic>
        <p:pic>
          <p:nvPicPr>
            <p:cNvPr id="330" name="Grafik 329">
              <a:extLst>
                <a:ext uri="{FF2B5EF4-FFF2-40B4-BE49-F238E27FC236}">
                  <a16:creationId xmlns:a16="http://schemas.microsoft.com/office/drawing/2014/main" id="{CAC32F96-676D-25B3-EE12-1B5E4ED96354}"/>
                </a:ext>
              </a:extLst>
            </p:cNvPr>
            <p:cNvPicPr>
              <a:picLocks noChangeAspect="1"/>
            </p:cNvPicPr>
            <p:nvPr/>
          </p:nvPicPr>
          <p:blipFill>
            <a:blip r:embed="rId55" cstate="screen">
              <a:extLst>
                <a:ext uri="{28A0092B-C50C-407E-A947-70E740481C1C}">
                  <a14:useLocalDpi xmlns:a14="http://schemas.microsoft.com/office/drawing/2010/main"/>
                </a:ext>
              </a:extLst>
            </a:blip>
            <a:stretch>
              <a:fillRect/>
            </a:stretch>
          </p:blipFill>
          <p:spPr>
            <a:xfrm>
              <a:off x="6038714" y="2514828"/>
              <a:ext cx="325954" cy="443787"/>
            </a:xfrm>
            <a:prstGeom prst="rect">
              <a:avLst/>
            </a:prstGeom>
          </p:spPr>
        </p:pic>
      </p:grpSp>
      <p:grpSp>
        <p:nvGrpSpPr>
          <p:cNvPr id="331" name="Gruppieren 330">
            <a:extLst>
              <a:ext uri="{FF2B5EF4-FFF2-40B4-BE49-F238E27FC236}">
                <a16:creationId xmlns:a16="http://schemas.microsoft.com/office/drawing/2014/main" id="{BE834A9F-68BB-6497-1276-3BC83D4F822F}"/>
              </a:ext>
            </a:extLst>
          </p:cNvPr>
          <p:cNvGrpSpPr/>
          <p:nvPr/>
        </p:nvGrpSpPr>
        <p:grpSpPr>
          <a:xfrm>
            <a:off x="2267112" y="2888040"/>
            <a:ext cx="816441" cy="531893"/>
            <a:chOff x="409842" y="3436405"/>
            <a:chExt cx="646431" cy="421136"/>
          </a:xfrm>
        </p:grpSpPr>
        <p:sp>
          <p:nvSpPr>
            <p:cNvPr id="332" name="ee4p_AT_1_15912">
              <a:extLst>
                <a:ext uri="{FF2B5EF4-FFF2-40B4-BE49-F238E27FC236}">
                  <a16:creationId xmlns:a16="http://schemas.microsoft.com/office/drawing/2014/main" id="{B7436730-DC67-245F-BBAA-6915B68DCE2E}"/>
                </a:ext>
              </a:extLst>
            </p:cNvPr>
            <p:cNvSpPr>
              <a:spLocks noChangeAspect="1"/>
            </p:cNvSpPr>
            <p:nvPr>
              <p:custDataLst>
                <p:tags r:id="rId46"/>
              </p:custDataLst>
            </p:nvPr>
          </p:nvSpPr>
          <p:spPr>
            <a:xfrm>
              <a:off x="409842" y="3576960"/>
              <a:ext cx="646431" cy="28058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accent3"/>
            </a:solid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pic>
          <p:nvPicPr>
            <p:cNvPr id="333" name="Grafik 332">
              <a:extLst>
                <a:ext uri="{FF2B5EF4-FFF2-40B4-BE49-F238E27FC236}">
                  <a16:creationId xmlns:a16="http://schemas.microsoft.com/office/drawing/2014/main" id="{598A9ABC-AB9E-0327-FE83-BA08566A974B}"/>
                </a:ext>
              </a:extLst>
            </p:cNvPr>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a:off x="795104" y="3436405"/>
              <a:ext cx="146688" cy="352729"/>
            </a:xfrm>
            <a:prstGeom prst="rect">
              <a:avLst/>
            </a:prstGeom>
          </p:spPr>
        </p:pic>
      </p:grpSp>
      <p:grpSp>
        <p:nvGrpSpPr>
          <p:cNvPr id="334" name="Gruppieren 333">
            <a:extLst>
              <a:ext uri="{FF2B5EF4-FFF2-40B4-BE49-F238E27FC236}">
                <a16:creationId xmlns:a16="http://schemas.microsoft.com/office/drawing/2014/main" id="{0DAFA9F8-A1D4-C738-8311-DFFAC7F03C31}"/>
              </a:ext>
            </a:extLst>
          </p:cNvPr>
          <p:cNvGrpSpPr/>
          <p:nvPr/>
        </p:nvGrpSpPr>
        <p:grpSpPr>
          <a:xfrm>
            <a:off x="9052648" y="1129269"/>
            <a:ext cx="943240" cy="464703"/>
            <a:chOff x="3585861" y="1914368"/>
            <a:chExt cx="723998" cy="357124"/>
          </a:xfrm>
        </p:grpSpPr>
        <p:sp>
          <p:nvSpPr>
            <p:cNvPr id="335" name="Freeform 44">
              <a:extLst>
                <a:ext uri="{FF2B5EF4-FFF2-40B4-BE49-F238E27FC236}">
                  <a16:creationId xmlns:a16="http://schemas.microsoft.com/office/drawing/2014/main" id="{9549D7A6-5E00-5E79-8A59-C64E8C536C6B}"/>
                </a:ext>
              </a:extLst>
            </p:cNvPr>
            <p:cNvSpPr>
              <a:spLocks/>
            </p:cNvSpPr>
            <p:nvPr/>
          </p:nvSpPr>
          <p:spPr bwMode="auto">
            <a:xfrm>
              <a:off x="3585861" y="1914368"/>
              <a:ext cx="723998" cy="357124"/>
            </a:xfrm>
            <a:custGeom>
              <a:avLst/>
              <a:gdLst>
                <a:gd name="T0" fmla="*/ 187 w 191"/>
                <a:gd name="T1" fmla="*/ 16 h 94"/>
                <a:gd name="T2" fmla="*/ 191 w 191"/>
                <a:gd name="T3" fmla="*/ 41 h 94"/>
                <a:gd name="T4" fmla="*/ 180 w 191"/>
                <a:gd name="T5" fmla="*/ 56 h 94"/>
                <a:gd name="T6" fmla="*/ 169 w 191"/>
                <a:gd name="T7" fmla="*/ 80 h 94"/>
                <a:gd name="T8" fmla="*/ 157 w 191"/>
                <a:gd name="T9" fmla="*/ 82 h 94"/>
                <a:gd name="T10" fmla="*/ 131 w 191"/>
                <a:gd name="T11" fmla="*/ 85 h 94"/>
                <a:gd name="T12" fmla="*/ 119 w 191"/>
                <a:gd name="T13" fmla="*/ 92 h 94"/>
                <a:gd name="T14" fmla="*/ 103 w 191"/>
                <a:gd name="T15" fmla="*/ 90 h 94"/>
                <a:gd name="T16" fmla="*/ 99 w 191"/>
                <a:gd name="T17" fmla="*/ 91 h 94"/>
                <a:gd name="T18" fmla="*/ 91 w 191"/>
                <a:gd name="T19" fmla="*/ 86 h 94"/>
                <a:gd name="T20" fmla="*/ 70 w 191"/>
                <a:gd name="T21" fmla="*/ 78 h 94"/>
                <a:gd name="T22" fmla="*/ 64 w 191"/>
                <a:gd name="T23" fmla="*/ 66 h 94"/>
                <a:gd name="T24" fmla="*/ 46 w 191"/>
                <a:gd name="T25" fmla="*/ 65 h 94"/>
                <a:gd name="T26" fmla="*/ 34 w 191"/>
                <a:gd name="T27" fmla="*/ 72 h 94"/>
                <a:gd name="T28" fmla="*/ 23 w 191"/>
                <a:gd name="T29" fmla="*/ 68 h 94"/>
                <a:gd name="T30" fmla="*/ 22 w 191"/>
                <a:gd name="T31" fmla="*/ 64 h 94"/>
                <a:gd name="T32" fmla="*/ 8 w 191"/>
                <a:gd name="T33" fmla="*/ 64 h 94"/>
                <a:gd name="T34" fmla="*/ 0 w 191"/>
                <a:gd name="T35" fmla="*/ 54 h 94"/>
                <a:gd name="T36" fmla="*/ 3 w 191"/>
                <a:gd name="T37" fmla="*/ 44 h 94"/>
                <a:gd name="T38" fmla="*/ 11 w 191"/>
                <a:gd name="T39" fmla="*/ 38 h 94"/>
                <a:gd name="T40" fmla="*/ 21 w 191"/>
                <a:gd name="T41" fmla="*/ 49 h 94"/>
                <a:gd name="T42" fmla="*/ 32 w 191"/>
                <a:gd name="T43" fmla="*/ 44 h 94"/>
                <a:gd name="T44" fmla="*/ 48 w 191"/>
                <a:gd name="T45" fmla="*/ 48 h 94"/>
                <a:gd name="T46" fmla="*/ 70 w 191"/>
                <a:gd name="T47" fmla="*/ 43 h 94"/>
                <a:gd name="T48" fmla="*/ 84 w 191"/>
                <a:gd name="T49" fmla="*/ 51 h 94"/>
                <a:gd name="T50" fmla="*/ 94 w 191"/>
                <a:gd name="T51" fmla="*/ 51 h 94"/>
                <a:gd name="T52" fmla="*/ 92 w 191"/>
                <a:gd name="T53" fmla="*/ 36 h 94"/>
                <a:gd name="T54" fmla="*/ 86 w 191"/>
                <a:gd name="T55" fmla="*/ 26 h 94"/>
                <a:gd name="T56" fmla="*/ 114 w 191"/>
                <a:gd name="T57" fmla="*/ 9 h 94"/>
                <a:gd name="T58" fmla="*/ 131 w 191"/>
                <a:gd name="T59" fmla="*/ 14 h 94"/>
                <a:gd name="T60" fmla="*/ 144 w 191"/>
                <a:gd name="T61" fmla="*/ 0 h 94"/>
                <a:gd name="T62" fmla="*/ 187 w 191"/>
                <a:gd name="T63" fmla="*/ 12 h 94"/>
                <a:gd name="T64" fmla="*/ 187 w 191"/>
                <a:gd name="T65" fmla="*/ 12 h 94"/>
                <a:gd name="T66" fmla="*/ 187 w 191"/>
                <a:gd name="T67" fmla="*/ 1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1" h="94">
                  <a:moveTo>
                    <a:pt x="187" y="16"/>
                  </a:moveTo>
                  <a:cubicBezTo>
                    <a:pt x="187" y="18"/>
                    <a:pt x="191" y="35"/>
                    <a:pt x="191" y="41"/>
                  </a:cubicBezTo>
                  <a:cubicBezTo>
                    <a:pt x="191" y="47"/>
                    <a:pt x="184" y="51"/>
                    <a:pt x="180" y="56"/>
                  </a:cubicBezTo>
                  <a:cubicBezTo>
                    <a:pt x="176" y="62"/>
                    <a:pt x="171" y="72"/>
                    <a:pt x="169" y="80"/>
                  </a:cubicBezTo>
                  <a:cubicBezTo>
                    <a:pt x="157" y="82"/>
                    <a:pt x="157" y="82"/>
                    <a:pt x="157" y="82"/>
                  </a:cubicBezTo>
                  <a:cubicBezTo>
                    <a:pt x="151" y="81"/>
                    <a:pt x="136" y="82"/>
                    <a:pt x="131" y="85"/>
                  </a:cubicBezTo>
                  <a:cubicBezTo>
                    <a:pt x="127" y="88"/>
                    <a:pt x="123" y="94"/>
                    <a:pt x="119" y="92"/>
                  </a:cubicBezTo>
                  <a:cubicBezTo>
                    <a:pt x="114" y="89"/>
                    <a:pt x="108" y="88"/>
                    <a:pt x="103" y="90"/>
                  </a:cubicBezTo>
                  <a:cubicBezTo>
                    <a:pt x="101" y="90"/>
                    <a:pt x="100" y="90"/>
                    <a:pt x="99" y="91"/>
                  </a:cubicBezTo>
                  <a:cubicBezTo>
                    <a:pt x="91" y="86"/>
                    <a:pt x="91" y="86"/>
                    <a:pt x="91" y="86"/>
                  </a:cubicBezTo>
                  <a:cubicBezTo>
                    <a:pt x="91" y="86"/>
                    <a:pt x="75" y="79"/>
                    <a:pt x="70" y="78"/>
                  </a:cubicBezTo>
                  <a:cubicBezTo>
                    <a:pt x="65" y="76"/>
                    <a:pt x="68" y="66"/>
                    <a:pt x="64" y="66"/>
                  </a:cubicBezTo>
                  <a:cubicBezTo>
                    <a:pt x="61" y="65"/>
                    <a:pt x="46" y="65"/>
                    <a:pt x="46" y="65"/>
                  </a:cubicBezTo>
                  <a:cubicBezTo>
                    <a:pt x="46" y="65"/>
                    <a:pt x="37" y="73"/>
                    <a:pt x="34" y="72"/>
                  </a:cubicBezTo>
                  <a:cubicBezTo>
                    <a:pt x="23" y="68"/>
                    <a:pt x="23" y="68"/>
                    <a:pt x="23" y="68"/>
                  </a:cubicBezTo>
                  <a:cubicBezTo>
                    <a:pt x="23" y="66"/>
                    <a:pt x="23" y="65"/>
                    <a:pt x="22" y="64"/>
                  </a:cubicBezTo>
                  <a:cubicBezTo>
                    <a:pt x="20" y="62"/>
                    <a:pt x="13" y="66"/>
                    <a:pt x="8" y="64"/>
                  </a:cubicBezTo>
                  <a:cubicBezTo>
                    <a:pt x="4" y="61"/>
                    <a:pt x="0" y="60"/>
                    <a:pt x="0" y="54"/>
                  </a:cubicBezTo>
                  <a:cubicBezTo>
                    <a:pt x="1" y="49"/>
                    <a:pt x="4" y="46"/>
                    <a:pt x="3" y="44"/>
                  </a:cubicBezTo>
                  <a:cubicBezTo>
                    <a:pt x="11" y="38"/>
                    <a:pt x="11" y="38"/>
                    <a:pt x="11" y="38"/>
                  </a:cubicBezTo>
                  <a:cubicBezTo>
                    <a:pt x="14" y="39"/>
                    <a:pt x="16" y="49"/>
                    <a:pt x="21" y="49"/>
                  </a:cubicBezTo>
                  <a:cubicBezTo>
                    <a:pt x="26" y="49"/>
                    <a:pt x="28" y="43"/>
                    <a:pt x="32" y="44"/>
                  </a:cubicBezTo>
                  <a:cubicBezTo>
                    <a:pt x="36" y="44"/>
                    <a:pt x="44" y="49"/>
                    <a:pt x="48" y="48"/>
                  </a:cubicBezTo>
                  <a:cubicBezTo>
                    <a:pt x="51" y="46"/>
                    <a:pt x="66" y="43"/>
                    <a:pt x="70" y="43"/>
                  </a:cubicBezTo>
                  <a:cubicBezTo>
                    <a:pt x="75" y="43"/>
                    <a:pt x="80" y="50"/>
                    <a:pt x="84" y="51"/>
                  </a:cubicBezTo>
                  <a:cubicBezTo>
                    <a:pt x="88" y="52"/>
                    <a:pt x="92" y="53"/>
                    <a:pt x="94" y="51"/>
                  </a:cubicBezTo>
                  <a:cubicBezTo>
                    <a:pt x="94" y="48"/>
                    <a:pt x="94" y="39"/>
                    <a:pt x="92" y="36"/>
                  </a:cubicBezTo>
                  <a:cubicBezTo>
                    <a:pt x="90" y="33"/>
                    <a:pt x="84" y="27"/>
                    <a:pt x="86" y="26"/>
                  </a:cubicBezTo>
                  <a:cubicBezTo>
                    <a:pt x="88" y="26"/>
                    <a:pt x="110" y="10"/>
                    <a:pt x="114" y="9"/>
                  </a:cubicBezTo>
                  <a:cubicBezTo>
                    <a:pt x="116" y="8"/>
                    <a:pt x="126" y="16"/>
                    <a:pt x="131" y="14"/>
                  </a:cubicBezTo>
                  <a:cubicBezTo>
                    <a:pt x="136" y="13"/>
                    <a:pt x="141" y="1"/>
                    <a:pt x="144" y="0"/>
                  </a:cubicBezTo>
                  <a:cubicBezTo>
                    <a:pt x="147" y="0"/>
                    <a:pt x="182" y="12"/>
                    <a:pt x="187" y="12"/>
                  </a:cubicBezTo>
                  <a:cubicBezTo>
                    <a:pt x="187" y="12"/>
                    <a:pt x="187" y="12"/>
                    <a:pt x="187" y="12"/>
                  </a:cubicBezTo>
                  <a:lnTo>
                    <a:pt x="187" y="16"/>
                  </a:lnTo>
                  <a:close/>
                </a:path>
              </a:pathLst>
            </a:custGeom>
            <a:solidFill>
              <a:schemeClr val="tx2"/>
            </a:solidFill>
            <a:ln w="6350" cap="flat">
              <a:solidFill>
                <a:schemeClr val="tx2"/>
              </a:solidFill>
              <a:prstDash val="solid"/>
              <a:miter lim="800000"/>
              <a:headEnd/>
              <a:tailEnd/>
            </a:ln>
          </p:spPr>
          <p:txBody>
            <a:bodyPr anchor="ct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75756"/>
                </a:solidFill>
                <a:effectLst/>
                <a:uLnTx/>
                <a:uFillTx/>
                <a:latin typeface="Arial"/>
                <a:ea typeface="MS PGothic"/>
                <a:cs typeface="+mn-cs"/>
              </a:endParaRPr>
            </a:p>
          </p:txBody>
        </p:sp>
        <p:sp>
          <p:nvSpPr>
            <p:cNvPr id="336" name="Freeform 44">
              <a:extLst>
                <a:ext uri="{FF2B5EF4-FFF2-40B4-BE49-F238E27FC236}">
                  <a16:creationId xmlns:a16="http://schemas.microsoft.com/office/drawing/2014/main" id="{B9397A2B-5D83-A9E7-242A-317577484F65}"/>
                </a:ext>
              </a:extLst>
            </p:cNvPr>
            <p:cNvSpPr>
              <a:spLocks/>
            </p:cNvSpPr>
            <p:nvPr/>
          </p:nvSpPr>
          <p:spPr bwMode="auto">
            <a:xfrm>
              <a:off x="3585861" y="2054402"/>
              <a:ext cx="723998" cy="95319"/>
            </a:xfrm>
            <a:custGeom>
              <a:avLst/>
              <a:gdLst/>
              <a:ahLst/>
              <a:cxnLst/>
              <a:rect l="l" t="t" r="r" b="b"/>
              <a:pathLst>
                <a:path w="723998" h="95249">
                  <a:moveTo>
                    <a:pt x="349432" y="0"/>
                  </a:moveTo>
                  <a:lnTo>
                    <a:pt x="722270" y="0"/>
                  </a:lnTo>
                  <a:cubicBezTo>
                    <a:pt x="723437" y="6738"/>
                    <a:pt x="723998" y="12667"/>
                    <a:pt x="723998" y="17050"/>
                  </a:cubicBezTo>
                  <a:cubicBezTo>
                    <a:pt x="723998" y="39829"/>
                    <a:pt x="697464" y="55014"/>
                    <a:pt x="682302" y="73996"/>
                  </a:cubicBezTo>
                  <a:lnTo>
                    <a:pt x="670513" y="95249"/>
                  </a:lnTo>
                  <a:lnTo>
                    <a:pt x="17403" y="95249"/>
                  </a:lnTo>
                  <a:cubicBezTo>
                    <a:pt x="7494" y="89049"/>
                    <a:pt x="0" y="82417"/>
                    <a:pt x="0" y="66403"/>
                  </a:cubicBezTo>
                  <a:cubicBezTo>
                    <a:pt x="3791" y="47421"/>
                    <a:pt x="15162" y="36032"/>
                    <a:pt x="11372" y="28439"/>
                  </a:cubicBezTo>
                  <a:cubicBezTo>
                    <a:pt x="41696" y="5661"/>
                    <a:pt x="41696" y="5661"/>
                    <a:pt x="41696" y="5661"/>
                  </a:cubicBezTo>
                  <a:cubicBezTo>
                    <a:pt x="53068" y="9457"/>
                    <a:pt x="60649" y="47421"/>
                    <a:pt x="79602" y="47421"/>
                  </a:cubicBezTo>
                  <a:cubicBezTo>
                    <a:pt x="98555" y="47421"/>
                    <a:pt x="106136" y="24643"/>
                    <a:pt x="121298" y="28439"/>
                  </a:cubicBezTo>
                  <a:cubicBezTo>
                    <a:pt x="136460" y="28439"/>
                    <a:pt x="166785" y="47421"/>
                    <a:pt x="181947" y="43625"/>
                  </a:cubicBezTo>
                  <a:cubicBezTo>
                    <a:pt x="193319" y="36032"/>
                    <a:pt x="250177" y="24643"/>
                    <a:pt x="265340" y="24643"/>
                  </a:cubicBezTo>
                  <a:cubicBezTo>
                    <a:pt x="284293" y="24643"/>
                    <a:pt x="303245" y="51218"/>
                    <a:pt x="318408" y="55014"/>
                  </a:cubicBezTo>
                  <a:cubicBezTo>
                    <a:pt x="333570" y="58811"/>
                    <a:pt x="348732" y="62607"/>
                    <a:pt x="356313" y="55014"/>
                  </a:cubicBezTo>
                  <a:cubicBezTo>
                    <a:pt x="356313" y="44164"/>
                    <a:pt x="356313" y="12640"/>
                    <a:pt x="349432" y="0"/>
                  </a:cubicBezTo>
                  <a:close/>
                </a:path>
              </a:pathLst>
            </a:custGeom>
            <a:solidFill>
              <a:schemeClr val="bg2"/>
            </a:solidFill>
            <a:ln w="6350" cap="flat">
              <a:solidFill>
                <a:schemeClr val="tx2"/>
              </a:solidFill>
              <a:prstDash val="solid"/>
              <a:miter lim="800000"/>
              <a:headEnd/>
              <a:tailEnd/>
            </a:ln>
          </p:spPr>
          <p:txBody>
            <a:bodyPr anchor="ctr"/>
            <a:lstStyle>
              <a:defPPr>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575756"/>
                </a:solidFill>
                <a:effectLst/>
                <a:uLnTx/>
                <a:uFillTx/>
                <a:latin typeface="Arial"/>
                <a:ea typeface="MS PGothic"/>
                <a:cs typeface="+mn-cs"/>
              </a:endParaRPr>
            </a:p>
          </p:txBody>
        </p:sp>
      </p:grpSp>
      <p:grpSp>
        <p:nvGrpSpPr>
          <p:cNvPr id="13" name="Gruppieren 12">
            <a:extLst>
              <a:ext uri="{FF2B5EF4-FFF2-40B4-BE49-F238E27FC236}">
                <a16:creationId xmlns:a16="http://schemas.microsoft.com/office/drawing/2014/main" id="{E62022FF-1E7A-B09B-6688-DEFC79630A2A}"/>
              </a:ext>
            </a:extLst>
          </p:cNvPr>
          <p:cNvGrpSpPr/>
          <p:nvPr/>
        </p:nvGrpSpPr>
        <p:grpSpPr>
          <a:xfrm>
            <a:off x="368385" y="2928702"/>
            <a:ext cx="1189428" cy="1231048"/>
            <a:chOff x="368385" y="2895734"/>
            <a:chExt cx="1189428" cy="1231048"/>
          </a:xfrm>
        </p:grpSpPr>
        <p:sp>
          <p:nvSpPr>
            <p:cNvPr id="323" name="Rechteck 322">
              <a:extLst>
                <a:ext uri="{FF2B5EF4-FFF2-40B4-BE49-F238E27FC236}">
                  <a16:creationId xmlns:a16="http://schemas.microsoft.com/office/drawing/2014/main" id="{288F3E9C-812F-FA29-E4B4-DB0F37450BAD}"/>
                </a:ext>
              </a:extLst>
            </p:cNvPr>
            <p:cNvSpPr/>
            <p:nvPr/>
          </p:nvSpPr>
          <p:spPr>
            <a:xfrm>
              <a:off x="368385" y="2895734"/>
              <a:ext cx="1189428" cy="538609"/>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
                  <a:srgbClr val="00488E"/>
                </a:buClr>
                <a:buSzTx/>
                <a:buFontTx/>
                <a:buNone/>
                <a:tabLst/>
                <a:defRPr/>
              </a:pPr>
              <a:r>
                <a:rPr lang="en-gb" sz="1500" b="1" i="0" u="none" baseline="0">
                  <a:latin typeface="Arial"/>
                  <a:ea typeface="MS PGothic"/>
                </a:rPr>
                <a:t>Energy-related</a:t>
              </a:r>
              <a:r>
                <a:rPr kumimoji="0" lang="en-gb" sz="1000" b="0" i="0" u="none" strike="noStrike" kern="1200" cap="none" spc="0" normalizeH="0" baseline="0">
                  <a:ln>
                    <a:noFill/>
                  </a:ln>
                  <a:effectLst/>
                  <a:uLnTx/>
                  <a:uFillTx/>
                  <a:latin typeface="Arial"/>
                  <a:ea typeface="MS PGothic"/>
                  <a:cs typeface="+mn-cs"/>
                </a:rPr>
                <a:t> </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products &amp;</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services</a:t>
              </a:r>
            </a:p>
          </p:txBody>
        </p:sp>
        <p:grpSp>
          <p:nvGrpSpPr>
            <p:cNvPr id="337" name="Grafik 189">
              <a:extLst>
                <a:ext uri="{FF2B5EF4-FFF2-40B4-BE49-F238E27FC236}">
                  <a16:creationId xmlns:a16="http://schemas.microsoft.com/office/drawing/2014/main" id="{8C1EEDEA-1979-6500-E65C-B395C2AD8299}"/>
                </a:ext>
              </a:extLst>
            </p:cNvPr>
            <p:cNvGrpSpPr>
              <a:grpSpLocks noChangeAspect="1"/>
            </p:cNvGrpSpPr>
            <p:nvPr/>
          </p:nvGrpSpPr>
          <p:grpSpPr>
            <a:xfrm>
              <a:off x="761486" y="3567031"/>
              <a:ext cx="403225" cy="559751"/>
              <a:chOff x="4628947" y="1390650"/>
              <a:chExt cx="2934007" cy="4072933"/>
            </a:xfrm>
            <a:solidFill>
              <a:schemeClr val="tx2"/>
            </a:solidFill>
          </p:grpSpPr>
          <p:sp>
            <p:nvSpPr>
              <p:cNvPr id="338" name="Freihandform: Form 337">
                <a:extLst>
                  <a:ext uri="{FF2B5EF4-FFF2-40B4-BE49-F238E27FC236}">
                    <a16:creationId xmlns:a16="http://schemas.microsoft.com/office/drawing/2014/main" id="{39EF6139-829B-EAF1-D613-B46EDC568C39}"/>
                  </a:ext>
                </a:extLst>
              </p:cNvPr>
              <p:cNvSpPr/>
              <p:nvPr/>
            </p:nvSpPr>
            <p:spPr>
              <a:xfrm>
                <a:off x="4628947" y="1390650"/>
                <a:ext cx="2934007" cy="4072933"/>
              </a:xfrm>
              <a:custGeom>
                <a:avLst/>
                <a:gdLst>
                  <a:gd name="connsiteX0" fmla="*/ 1502009 w 2934007"/>
                  <a:gd name="connsiteY0" fmla="*/ 0 h 4072933"/>
                  <a:gd name="connsiteX1" fmla="*/ 1736420 w 2934007"/>
                  <a:gd name="connsiteY1" fmla="*/ 397383 h 4072933"/>
                  <a:gd name="connsiteX2" fmla="*/ 2481656 w 2934007"/>
                  <a:gd name="connsiteY2" fmla="*/ 1536287 h 4072933"/>
                  <a:gd name="connsiteX3" fmla="*/ 2879991 w 2934007"/>
                  <a:gd name="connsiteY3" fmla="*/ 2355437 h 4072933"/>
                  <a:gd name="connsiteX4" fmla="*/ 2580525 w 2934007"/>
                  <a:gd name="connsiteY4" fmla="*/ 3563493 h 4072933"/>
                  <a:gd name="connsiteX5" fmla="*/ 1743278 w 2934007"/>
                  <a:gd name="connsiteY5" fmla="*/ 4044601 h 4072933"/>
                  <a:gd name="connsiteX6" fmla="*/ 594658 w 2934007"/>
                  <a:gd name="connsiteY6" fmla="*/ 3751612 h 4072933"/>
                  <a:gd name="connsiteX7" fmla="*/ 82022 w 2934007"/>
                  <a:gd name="connsiteY7" fmla="*/ 3051143 h 4072933"/>
                  <a:gd name="connsiteX8" fmla="*/ 131648 w 2934007"/>
                  <a:gd name="connsiteY8" fmla="*/ 1993868 h 4072933"/>
                  <a:gd name="connsiteX9" fmla="*/ 520268 w 2934007"/>
                  <a:gd name="connsiteY9" fmla="*/ 1372362 h 4072933"/>
                  <a:gd name="connsiteX10" fmla="*/ 1487627 w 2934007"/>
                  <a:gd name="connsiteY10" fmla="*/ 16669 h 4072933"/>
                  <a:gd name="connsiteX11" fmla="*/ 1502009 w 2934007"/>
                  <a:gd name="connsiteY11" fmla="*/ 0 h 4072933"/>
                  <a:gd name="connsiteX12" fmla="*/ 1395901 w 2934007"/>
                  <a:gd name="connsiteY12" fmla="*/ 2556510 h 4072933"/>
                  <a:gd name="connsiteX13" fmla="*/ 1378946 w 2934007"/>
                  <a:gd name="connsiteY13" fmla="*/ 2639282 h 4072933"/>
                  <a:gd name="connsiteX14" fmla="*/ 1367040 w 2934007"/>
                  <a:gd name="connsiteY14" fmla="*/ 2728341 h 4072933"/>
                  <a:gd name="connsiteX15" fmla="*/ 1497152 w 2934007"/>
                  <a:gd name="connsiteY15" fmla="*/ 2873597 h 4072933"/>
                  <a:gd name="connsiteX16" fmla="*/ 1901012 w 2934007"/>
                  <a:gd name="connsiteY16" fmla="*/ 2678906 h 4072933"/>
                  <a:gd name="connsiteX17" fmla="*/ 2031218 w 2934007"/>
                  <a:gd name="connsiteY17" fmla="*/ 2214086 h 4072933"/>
                  <a:gd name="connsiteX18" fmla="*/ 1383518 w 2934007"/>
                  <a:gd name="connsiteY18" fmla="*/ 1538288 h 4072933"/>
                  <a:gd name="connsiteX19" fmla="*/ 510933 w 2934007"/>
                  <a:gd name="connsiteY19" fmla="*/ 2103882 h 4072933"/>
                  <a:gd name="connsiteX20" fmla="*/ 451783 w 2934007"/>
                  <a:gd name="connsiteY20" fmla="*/ 2724912 h 4072933"/>
                  <a:gd name="connsiteX21" fmla="*/ 846023 w 2934007"/>
                  <a:gd name="connsiteY21" fmla="*/ 3271647 h 4072933"/>
                  <a:gd name="connsiteX22" fmla="*/ 1660982 w 2934007"/>
                  <a:gd name="connsiteY22" fmla="*/ 3222403 h 4072933"/>
                  <a:gd name="connsiteX23" fmla="*/ 2079034 w 2934007"/>
                  <a:gd name="connsiteY23" fmla="*/ 2979420 h 4072933"/>
                  <a:gd name="connsiteX24" fmla="*/ 2280583 w 2934007"/>
                  <a:gd name="connsiteY24" fmla="*/ 2939510 h 4072933"/>
                  <a:gd name="connsiteX25" fmla="*/ 2360688 w 2934007"/>
                  <a:gd name="connsiteY25" fmla="*/ 3031998 h 4072933"/>
                  <a:gd name="connsiteX26" fmla="*/ 2117705 w 2934007"/>
                  <a:gd name="connsiteY26" fmla="*/ 3265170 h 4072933"/>
                  <a:gd name="connsiteX27" fmla="*/ 2235149 w 2934007"/>
                  <a:gd name="connsiteY27" fmla="*/ 3246120 h 4072933"/>
                  <a:gd name="connsiteX28" fmla="*/ 2320207 w 2934007"/>
                  <a:gd name="connsiteY28" fmla="*/ 3252407 h 4072933"/>
                  <a:gd name="connsiteX29" fmla="*/ 2433459 w 2934007"/>
                  <a:gd name="connsiteY29" fmla="*/ 3343180 h 4072933"/>
                  <a:gd name="connsiteX30" fmla="*/ 2440794 w 2934007"/>
                  <a:gd name="connsiteY30" fmla="*/ 3054001 h 4072933"/>
                  <a:gd name="connsiteX31" fmla="*/ 2430602 w 2934007"/>
                  <a:gd name="connsiteY31" fmla="*/ 3010091 h 4072933"/>
                  <a:gd name="connsiteX32" fmla="*/ 2304586 w 2934007"/>
                  <a:gd name="connsiteY32" fmla="*/ 2862358 h 4072933"/>
                  <a:gd name="connsiteX33" fmla="*/ 2169045 w 2934007"/>
                  <a:gd name="connsiteY33" fmla="*/ 2869787 h 4072933"/>
                  <a:gd name="connsiteX34" fmla="*/ 1730895 w 2934007"/>
                  <a:gd name="connsiteY34" fmla="*/ 3068860 h 4072933"/>
                  <a:gd name="connsiteX35" fmla="*/ 1457337 w 2934007"/>
                  <a:gd name="connsiteY35" fmla="*/ 3197638 h 4072933"/>
                  <a:gd name="connsiteX36" fmla="*/ 619994 w 2934007"/>
                  <a:gd name="connsiteY36" fmla="*/ 2792063 h 4072933"/>
                  <a:gd name="connsiteX37" fmla="*/ 595515 w 2934007"/>
                  <a:gd name="connsiteY37" fmla="*/ 2345341 h 4072933"/>
                  <a:gd name="connsiteX38" fmla="*/ 920318 w 2934007"/>
                  <a:gd name="connsiteY38" fmla="*/ 1769174 h 4072933"/>
                  <a:gd name="connsiteX39" fmla="*/ 1461909 w 2934007"/>
                  <a:gd name="connsiteY39" fmla="*/ 1639443 h 4072933"/>
                  <a:gd name="connsiteX40" fmla="*/ 1901012 w 2934007"/>
                  <a:gd name="connsiteY40" fmla="*/ 1990630 h 4072933"/>
                  <a:gd name="connsiteX41" fmla="*/ 1885295 w 2934007"/>
                  <a:gd name="connsiteY41" fmla="*/ 2542413 h 4072933"/>
                  <a:gd name="connsiteX42" fmla="*/ 1696605 w 2934007"/>
                  <a:gd name="connsiteY42" fmla="*/ 2759774 h 4072933"/>
                  <a:gd name="connsiteX43" fmla="*/ 1535633 w 2934007"/>
                  <a:gd name="connsiteY43" fmla="*/ 2656808 h 4072933"/>
                  <a:gd name="connsiteX44" fmla="*/ 1541443 w 2934007"/>
                  <a:gd name="connsiteY44" fmla="*/ 2609945 h 4072933"/>
                  <a:gd name="connsiteX45" fmla="*/ 1645361 w 2934007"/>
                  <a:gd name="connsiteY45" fmla="*/ 2148078 h 4072933"/>
                  <a:gd name="connsiteX46" fmla="*/ 1690414 w 2934007"/>
                  <a:gd name="connsiteY46" fmla="*/ 1940147 h 4072933"/>
                  <a:gd name="connsiteX47" fmla="*/ 1587258 w 2934007"/>
                  <a:gd name="connsiteY47" fmla="*/ 1941290 h 4072933"/>
                  <a:gd name="connsiteX48" fmla="*/ 1451336 w 2934007"/>
                  <a:gd name="connsiteY48" fmla="*/ 1933480 h 4072933"/>
                  <a:gd name="connsiteX49" fmla="*/ 1123962 w 2934007"/>
                  <a:gd name="connsiteY49" fmla="*/ 2016347 h 4072933"/>
                  <a:gd name="connsiteX50" fmla="*/ 814876 w 2934007"/>
                  <a:gd name="connsiteY50" fmla="*/ 2701957 h 4072933"/>
                  <a:gd name="connsiteX51" fmla="*/ 1032046 w 2934007"/>
                  <a:gd name="connsiteY51" fmla="*/ 2872645 h 4072933"/>
                  <a:gd name="connsiteX52" fmla="*/ 1192637 w 2934007"/>
                  <a:gd name="connsiteY52" fmla="*/ 2798445 h 4072933"/>
                  <a:gd name="connsiteX53" fmla="*/ 1395901 w 2934007"/>
                  <a:gd name="connsiteY53" fmla="*/ 2556510 h 4072933"/>
                  <a:gd name="connsiteX54" fmla="*/ 2286203 w 2934007"/>
                  <a:gd name="connsiteY54" fmla="*/ 3471767 h 4072933"/>
                  <a:gd name="connsiteX55" fmla="*/ 2291918 w 2934007"/>
                  <a:gd name="connsiteY55" fmla="*/ 3484245 h 4072933"/>
                  <a:gd name="connsiteX56" fmla="*/ 2361736 w 2934007"/>
                  <a:gd name="connsiteY56" fmla="*/ 3462909 h 4072933"/>
                  <a:gd name="connsiteX57" fmla="*/ 2409361 w 2934007"/>
                  <a:gd name="connsiteY57" fmla="*/ 3362039 h 4072933"/>
                  <a:gd name="connsiteX58" fmla="*/ 2341162 w 2934007"/>
                  <a:gd name="connsiteY58" fmla="*/ 3295364 h 4072933"/>
                  <a:gd name="connsiteX59" fmla="*/ 2186000 w 2934007"/>
                  <a:gd name="connsiteY59" fmla="*/ 3280505 h 4072933"/>
                  <a:gd name="connsiteX60" fmla="*/ 2101894 w 2934007"/>
                  <a:gd name="connsiteY60" fmla="*/ 3350990 h 4072933"/>
                  <a:gd name="connsiteX61" fmla="*/ 2128278 w 2934007"/>
                  <a:gd name="connsiteY61" fmla="*/ 3444145 h 4072933"/>
                  <a:gd name="connsiteX62" fmla="*/ 2169236 w 2934007"/>
                  <a:gd name="connsiteY62" fmla="*/ 3382708 h 4072933"/>
                  <a:gd name="connsiteX63" fmla="*/ 2200383 w 2934007"/>
                  <a:gd name="connsiteY63" fmla="*/ 3373660 h 4072933"/>
                  <a:gd name="connsiteX64" fmla="*/ 2203812 w 2934007"/>
                  <a:gd name="connsiteY64" fmla="*/ 3406616 h 4072933"/>
                  <a:gd name="connsiteX65" fmla="*/ 2168093 w 2934007"/>
                  <a:gd name="connsiteY65" fmla="*/ 3463766 h 4072933"/>
                  <a:gd name="connsiteX66" fmla="*/ 2262581 w 2934007"/>
                  <a:gd name="connsiteY66" fmla="*/ 3434048 h 4072933"/>
                  <a:gd name="connsiteX67" fmla="*/ 2281631 w 2934007"/>
                  <a:gd name="connsiteY67" fmla="*/ 3401758 h 4072933"/>
                  <a:gd name="connsiteX68" fmla="*/ 2314778 w 2934007"/>
                  <a:gd name="connsiteY68" fmla="*/ 3384233 h 4072933"/>
                  <a:gd name="connsiteX69" fmla="*/ 2316397 w 2934007"/>
                  <a:gd name="connsiteY69" fmla="*/ 3424809 h 4072933"/>
                  <a:gd name="connsiteX70" fmla="*/ 2286203 w 2934007"/>
                  <a:gd name="connsiteY70" fmla="*/ 3471767 h 407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2934007" h="4072933">
                    <a:moveTo>
                      <a:pt x="1502009" y="0"/>
                    </a:moveTo>
                    <a:cubicBezTo>
                      <a:pt x="1580972" y="133922"/>
                      <a:pt x="1659172" y="265367"/>
                      <a:pt x="1736420" y="397383"/>
                    </a:cubicBezTo>
                    <a:cubicBezTo>
                      <a:pt x="1965591" y="789623"/>
                      <a:pt x="2223719" y="1162812"/>
                      <a:pt x="2481656" y="1536287"/>
                    </a:cubicBezTo>
                    <a:cubicBezTo>
                      <a:pt x="2655678" y="1788224"/>
                      <a:pt x="2797981" y="2057686"/>
                      <a:pt x="2879991" y="2355437"/>
                    </a:cubicBezTo>
                    <a:cubicBezTo>
                      <a:pt x="3006293" y="2814161"/>
                      <a:pt x="2912948" y="3217164"/>
                      <a:pt x="2580525" y="3563493"/>
                    </a:cubicBezTo>
                    <a:cubicBezTo>
                      <a:pt x="2347734" y="3806095"/>
                      <a:pt x="2076653" y="3981450"/>
                      <a:pt x="1743278" y="4044601"/>
                    </a:cubicBezTo>
                    <a:cubicBezTo>
                      <a:pt x="1316081" y="4125754"/>
                      <a:pt x="929843" y="4033933"/>
                      <a:pt x="594658" y="3751612"/>
                    </a:cubicBezTo>
                    <a:cubicBezTo>
                      <a:pt x="367106" y="3560064"/>
                      <a:pt x="185559" y="3333179"/>
                      <a:pt x="82022" y="3051143"/>
                    </a:cubicBezTo>
                    <a:cubicBezTo>
                      <a:pt x="-49708" y="2692337"/>
                      <a:pt x="-15228" y="2339912"/>
                      <a:pt x="131648" y="1993868"/>
                    </a:cubicBezTo>
                    <a:cubicBezTo>
                      <a:pt x="228231" y="1766126"/>
                      <a:pt x="372249" y="1568672"/>
                      <a:pt x="520268" y="1372362"/>
                    </a:cubicBezTo>
                    <a:cubicBezTo>
                      <a:pt x="854500" y="928878"/>
                      <a:pt x="1187018" y="484156"/>
                      <a:pt x="1487627" y="16669"/>
                    </a:cubicBezTo>
                    <a:cubicBezTo>
                      <a:pt x="1492055" y="10807"/>
                      <a:pt x="1496859" y="5239"/>
                      <a:pt x="1502009" y="0"/>
                    </a:cubicBezTo>
                    <a:close/>
                    <a:moveTo>
                      <a:pt x="1395901" y="2556510"/>
                    </a:moveTo>
                    <a:cubicBezTo>
                      <a:pt x="1390186" y="2584133"/>
                      <a:pt x="1383709" y="2611565"/>
                      <a:pt x="1378946" y="2639282"/>
                    </a:cubicBezTo>
                    <a:cubicBezTo>
                      <a:pt x="1372998" y="2668670"/>
                      <a:pt x="1369021" y="2698423"/>
                      <a:pt x="1367040" y="2728341"/>
                    </a:cubicBezTo>
                    <a:cubicBezTo>
                      <a:pt x="1363706" y="2821210"/>
                      <a:pt x="1405140" y="2866073"/>
                      <a:pt x="1497152" y="2873597"/>
                    </a:cubicBezTo>
                    <a:cubicBezTo>
                      <a:pt x="1669935" y="2887695"/>
                      <a:pt x="1799380" y="2811780"/>
                      <a:pt x="1901012" y="2678906"/>
                    </a:cubicBezTo>
                    <a:cubicBezTo>
                      <a:pt x="2005787" y="2541461"/>
                      <a:pt x="2033219" y="2383155"/>
                      <a:pt x="2031218" y="2214086"/>
                    </a:cubicBezTo>
                    <a:cubicBezTo>
                      <a:pt x="2027789" y="1926622"/>
                      <a:pt x="1826145" y="1548575"/>
                      <a:pt x="1383518" y="1538288"/>
                    </a:cubicBezTo>
                    <a:cubicBezTo>
                      <a:pt x="996803" y="1529334"/>
                      <a:pt x="651903" y="1746504"/>
                      <a:pt x="510933" y="2103882"/>
                    </a:cubicBezTo>
                    <a:cubicBezTo>
                      <a:pt x="431971" y="2305050"/>
                      <a:pt x="422636" y="2514600"/>
                      <a:pt x="451783" y="2724912"/>
                    </a:cubicBezTo>
                    <a:cubicBezTo>
                      <a:pt x="486263" y="2974181"/>
                      <a:pt x="608755" y="3169253"/>
                      <a:pt x="846023" y="3271647"/>
                    </a:cubicBezTo>
                    <a:cubicBezTo>
                      <a:pt x="1123676" y="3391472"/>
                      <a:pt x="1397806" y="3370040"/>
                      <a:pt x="1660982" y="3222403"/>
                    </a:cubicBezTo>
                    <a:cubicBezTo>
                      <a:pt x="1801475" y="3143536"/>
                      <a:pt x="1938921" y="3058954"/>
                      <a:pt x="2079034" y="2979420"/>
                    </a:cubicBezTo>
                    <a:cubicBezTo>
                      <a:pt x="2140027" y="2944387"/>
                      <a:pt x="2210842" y="2930365"/>
                      <a:pt x="2280583" y="2939510"/>
                    </a:cubicBezTo>
                    <a:cubicBezTo>
                      <a:pt x="2332494" y="2946083"/>
                      <a:pt x="2355354" y="2971895"/>
                      <a:pt x="2360688" y="3031998"/>
                    </a:cubicBezTo>
                    <a:cubicBezTo>
                      <a:pt x="2221528" y="3053906"/>
                      <a:pt x="2175713" y="3171825"/>
                      <a:pt x="2117705" y="3265170"/>
                    </a:cubicBezTo>
                    <a:cubicBezTo>
                      <a:pt x="2154567" y="3259074"/>
                      <a:pt x="2194667" y="3249740"/>
                      <a:pt x="2235149" y="3246120"/>
                    </a:cubicBezTo>
                    <a:cubicBezTo>
                      <a:pt x="2263152" y="3243929"/>
                      <a:pt x="2292299" y="3251454"/>
                      <a:pt x="2320207" y="3252407"/>
                    </a:cubicBezTo>
                    <a:cubicBezTo>
                      <a:pt x="2395645" y="3255074"/>
                      <a:pt x="2417076" y="3271457"/>
                      <a:pt x="2433459" y="3343180"/>
                    </a:cubicBezTo>
                    <a:cubicBezTo>
                      <a:pt x="2513850" y="3249930"/>
                      <a:pt x="2515660" y="3153632"/>
                      <a:pt x="2440794" y="3054001"/>
                    </a:cubicBezTo>
                    <a:cubicBezTo>
                      <a:pt x="2432507" y="3042952"/>
                      <a:pt x="2431268" y="3024949"/>
                      <a:pt x="2430602" y="3010091"/>
                    </a:cubicBezTo>
                    <a:cubicBezTo>
                      <a:pt x="2428697" y="2932271"/>
                      <a:pt x="2382120" y="2871978"/>
                      <a:pt x="2304586" y="2862358"/>
                    </a:cubicBezTo>
                    <a:cubicBezTo>
                      <a:pt x="2259308" y="2857251"/>
                      <a:pt x="2213494" y="2859762"/>
                      <a:pt x="2169045" y="2869787"/>
                    </a:cubicBezTo>
                    <a:cubicBezTo>
                      <a:pt x="2009501" y="2905506"/>
                      <a:pt x="1872913" y="2993612"/>
                      <a:pt x="1730895" y="3068860"/>
                    </a:cubicBezTo>
                    <a:cubicBezTo>
                      <a:pt x="1641932" y="3116485"/>
                      <a:pt x="1552301" y="3165920"/>
                      <a:pt x="1457337" y="3197638"/>
                    </a:cubicBezTo>
                    <a:cubicBezTo>
                      <a:pt x="1131296" y="3306413"/>
                      <a:pt x="736009" y="3196971"/>
                      <a:pt x="619994" y="2792063"/>
                    </a:cubicBezTo>
                    <a:cubicBezTo>
                      <a:pt x="577989" y="2645664"/>
                      <a:pt x="574465" y="2495074"/>
                      <a:pt x="595515" y="2345341"/>
                    </a:cubicBezTo>
                    <a:cubicBezTo>
                      <a:pt x="628186" y="2111788"/>
                      <a:pt x="735914" y="1915668"/>
                      <a:pt x="920318" y="1769174"/>
                    </a:cubicBezTo>
                    <a:cubicBezTo>
                      <a:pt x="1078147" y="1643825"/>
                      <a:pt x="1263218" y="1605629"/>
                      <a:pt x="1461909" y="1639443"/>
                    </a:cubicBezTo>
                    <a:cubicBezTo>
                      <a:pt x="1672316" y="1675448"/>
                      <a:pt x="1829384" y="1783366"/>
                      <a:pt x="1901012" y="1990630"/>
                    </a:cubicBezTo>
                    <a:cubicBezTo>
                      <a:pt x="1964829" y="2175034"/>
                      <a:pt x="1956923" y="2361152"/>
                      <a:pt x="1885295" y="2542413"/>
                    </a:cubicBezTo>
                    <a:cubicBezTo>
                      <a:pt x="1848434" y="2635568"/>
                      <a:pt x="1789283" y="2714435"/>
                      <a:pt x="1696605" y="2759774"/>
                    </a:cubicBezTo>
                    <a:cubicBezTo>
                      <a:pt x="1599831" y="2807399"/>
                      <a:pt x="1532870" y="2763107"/>
                      <a:pt x="1535633" y="2656808"/>
                    </a:cubicBezTo>
                    <a:cubicBezTo>
                      <a:pt x="1536046" y="2641036"/>
                      <a:pt x="1537992" y="2625341"/>
                      <a:pt x="1541443" y="2609945"/>
                    </a:cubicBezTo>
                    <a:cubicBezTo>
                      <a:pt x="1575923" y="2455926"/>
                      <a:pt x="1610880" y="2302097"/>
                      <a:pt x="1645361" y="2148078"/>
                    </a:cubicBezTo>
                    <a:cubicBezTo>
                      <a:pt x="1660315" y="2081403"/>
                      <a:pt x="1673936" y="2014728"/>
                      <a:pt x="1690414" y="1940147"/>
                    </a:cubicBezTo>
                    <a:cubicBezTo>
                      <a:pt x="1649933" y="1940147"/>
                      <a:pt x="1617452" y="1935194"/>
                      <a:pt x="1587258" y="1941290"/>
                    </a:cubicBezTo>
                    <a:cubicBezTo>
                      <a:pt x="1539633" y="1950815"/>
                      <a:pt x="1497247" y="1940052"/>
                      <a:pt x="1451336" y="1933480"/>
                    </a:cubicBezTo>
                    <a:cubicBezTo>
                      <a:pt x="1335484" y="1915456"/>
                      <a:pt x="1217287" y="1945375"/>
                      <a:pt x="1123962" y="2016347"/>
                    </a:cubicBezTo>
                    <a:cubicBezTo>
                      <a:pt x="895553" y="2187607"/>
                      <a:pt x="812780" y="2428875"/>
                      <a:pt x="814876" y="2701957"/>
                    </a:cubicBezTo>
                    <a:cubicBezTo>
                      <a:pt x="815828" y="2820543"/>
                      <a:pt x="923080" y="2904363"/>
                      <a:pt x="1032046" y="2872645"/>
                    </a:cubicBezTo>
                    <a:cubicBezTo>
                      <a:pt x="1089387" y="2857170"/>
                      <a:pt x="1143687" y="2832080"/>
                      <a:pt x="1192637" y="2798445"/>
                    </a:cubicBezTo>
                    <a:cubicBezTo>
                      <a:pt x="1278934" y="2735961"/>
                      <a:pt x="1345323" y="2653379"/>
                      <a:pt x="1395901" y="2556510"/>
                    </a:cubicBezTo>
                    <a:close/>
                    <a:moveTo>
                      <a:pt x="2286203" y="3471767"/>
                    </a:moveTo>
                    <a:lnTo>
                      <a:pt x="2291918" y="3484245"/>
                    </a:lnTo>
                    <a:cubicBezTo>
                      <a:pt x="2315349" y="3477387"/>
                      <a:pt x="2340781" y="3474244"/>
                      <a:pt x="2361736" y="3462909"/>
                    </a:cubicBezTo>
                    <a:cubicBezTo>
                      <a:pt x="2400788" y="3441954"/>
                      <a:pt x="2412980" y="3404616"/>
                      <a:pt x="2409361" y="3362039"/>
                    </a:cubicBezTo>
                    <a:cubicBezTo>
                      <a:pt x="2405551" y="3321177"/>
                      <a:pt x="2379357" y="3300222"/>
                      <a:pt x="2341162" y="3295364"/>
                    </a:cubicBezTo>
                    <a:cubicBezTo>
                      <a:pt x="2289747" y="3287617"/>
                      <a:pt x="2237951" y="3282657"/>
                      <a:pt x="2186000" y="3280505"/>
                    </a:cubicBezTo>
                    <a:cubicBezTo>
                      <a:pt x="2140756" y="3279553"/>
                      <a:pt x="2115324" y="3309842"/>
                      <a:pt x="2101894" y="3350990"/>
                    </a:cubicBezTo>
                    <a:cubicBezTo>
                      <a:pt x="2090178" y="3386995"/>
                      <a:pt x="2096465" y="3417665"/>
                      <a:pt x="2128278" y="3444145"/>
                    </a:cubicBezTo>
                    <a:cubicBezTo>
                      <a:pt x="2140686" y="3422863"/>
                      <a:pt x="2154363" y="3402347"/>
                      <a:pt x="2169236" y="3382708"/>
                    </a:cubicBezTo>
                    <a:cubicBezTo>
                      <a:pt x="2175046" y="3375851"/>
                      <a:pt x="2189714" y="3376422"/>
                      <a:pt x="2200383" y="3373660"/>
                    </a:cubicBezTo>
                    <a:cubicBezTo>
                      <a:pt x="2201811" y="3384804"/>
                      <a:pt x="2207717" y="3397949"/>
                      <a:pt x="2203812" y="3406616"/>
                    </a:cubicBezTo>
                    <a:cubicBezTo>
                      <a:pt x="2193298" y="3426502"/>
                      <a:pt x="2181361" y="3445602"/>
                      <a:pt x="2168093" y="3463766"/>
                    </a:cubicBezTo>
                    <a:cubicBezTo>
                      <a:pt x="2212860" y="3479673"/>
                      <a:pt x="2244293" y="3476720"/>
                      <a:pt x="2262581" y="3434048"/>
                    </a:cubicBezTo>
                    <a:cubicBezTo>
                      <a:pt x="2266747" y="3422138"/>
                      <a:pt x="2273221" y="3411165"/>
                      <a:pt x="2281631" y="3401758"/>
                    </a:cubicBezTo>
                    <a:cubicBezTo>
                      <a:pt x="2291789" y="3394368"/>
                      <a:pt x="2302951" y="3388467"/>
                      <a:pt x="2314778" y="3384233"/>
                    </a:cubicBezTo>
                    <a:cubicBezTo>
                      <a:pt x="2315635" y="3397853"/>
                      <a:pt x="2320779" y="3412808"/>
                      <a:pt x="2316397" y="3424809"/>
                    </a:cubicBezTo>
                    <a:cubicBezTo>
                      <a:pt x="2310015" y="3441859"/>
                      <a:pt x="2296776" y="3456241"/>
                      <a:pt x="2286203" y="3471767"/>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S PGothic"/>
                  <a:cs typeface="+mn-cs"/>
                </a:endParaRPr>
              </a:p>
            </p:txBody>
          </p:sp>
          <p:sp>
            <p:nvSpPr>
              <p:cNvPr id="339" name="Freihandform: Form 338">
                <a:extLst>
                  <a:ext uri="{FF2B5EF4-FFF2-40B4-BE49-F238E27FC236}">
                    <a16:creationId xmlns:a16="http://schemas.microsoft.com/office/drawing/2014/main" id="{AF632FEF-30B5-C00F-56BB-10B67B031F22}"/>
                  </a:ext>
                </a:extLst>
              </p:cNvPr>
              <p:cNvSpPr/>
              <p:nvPr/>
            </p:nvSpPr>
            <p:spPr>
              <a:xfrm>
                <a:off x="5630894" y="3392550"/>
                <a:ext cx="510169" cy="749258"/>
              </a:xfrm>
              <a:custGeom>
                <a:avLst/>
                <a:gdLst>
                  <a:gd name="connsiteX0" fmla="*/ 0 w 510169"/>
                  <a:gd name="connsiteY0" fmla="*/ 592233 h 749258"/>
                  <a:gd name="connsiteX1" fmla="*/ 232600 w 510169"/>
                  <a:gd name="connsiteY1" fmla="*/ 76455 h 749258"/>
                  <a:gd name="connsiteX2" fmla="*/ 489775 w 510169"/>
                  <a:gd name="connsiteY2" fmla="*/ 27210 h 749258"/>
                  <a:gd name="connsiteX3" fmla="*/ 509683 w 510169"/>
                  <a:gd name="connsiteY3" fmla="*/ 67215 h 749258"/>
                  <a:gd name="connsiteX4" fmla="*/ 294323 w 510169"/>
                  <a:gd name="connsiteY4" fmla="*/ 584709 h 749258"/>
                  <a:gd name="connsiteX5" fmla="*/ 186595 w 510169"/>
                  <a:gd name="connsiteY5" fmla="*/ 703200 h 749258"/>
                  <a:gd name="connsiteX6" fmla="*/ 48958 w 510169"/>
                  <a:gd name="connsiteY6" fmla="*/ 738442 h 749258"/>
                  <a:gd name="connsiteX7" fmla="*/ 0 w 510169"/>
                  <a:gd name="connsiteY7" fmla="*/ 592233 h 74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169" h="749258">
                    <a:moveTo>
                      <a:pt x="0" y="592233"/>
                    </a:moveTo>
                    <a:cubicBezTo>
                      <a:pt x="20002" y="409544"/>
                      <a:pt x="89916" y="226378"/>
                      <a:pt x="232600" y="76455"/>
                    </a:cubicBezTo>
                    <a:cubicBezTo>
                      <a:pt x="308800" y="-3746"/>
                      <a:pt x="417862" y="-22034"/>
                      <a:pt x="489775" y="27210"/>
                    </a:cubicBezTo>
                    <a:cubicBezTo>
                      <a:pt x="500920" y="34735"/>
                      <a:pt x="512731" y="56262"/>
                      <a:pt x="509683" y="67215"/>
                    </a:cubicBezTo>
                    <a:cubicBezTo>
                      <a:pt x="458629" y="248190"/>
                      <a:pt x="404908" y="429165"/>
                      <a:pt x="294323" y="584709"/>
                    </a:cubicBezTo>
                    <a:cubicBezTo>
                      <a:pt x="262529" y="627760"/>
                      <a:pt x="226433" y="667462"/>
                      <a:pt x="186595" y="703200"/>
                    </a:cubicBezTo>
                    <a:cubicBezTo>
                      <a:pt x="148495" y="738537"/>
                      <a:pt x="102203" y="765017"/>
                      <a:pt x="48958" y="738442"/>
                    </a:cubicBezTo>
                    <a:cubicBezTo>
                      <a:pt x="-2381" y="713201"/>
                      <a:pt x="2286" y="661099"/>
                      <a:pt x="0" y="592233"/>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Arial"/>
                  <a:ea typeface="MS PGothic"/>
                  <a:cs typeface="+mn-cs"/>
                </a:endParaRPr>
              </a:p>
            </p:txBody>
          </p:sp>
        </p:grpSp>
      </p:grpSp>
      <p:sp>
        <p:nvSpPr>
          <p:cNvPr id="342" name="Textfeld 341">
            <a:extLst>
              <a:ext uri="{FF2B5EF4-FFF2-40B4-BE49-F238E27FC236}">
                <a16:creationId xmlns:a16="http://schemas.microsoft.com/office/drawing/2014/main" id="{B31AD1B5-5ED4-8F3D-B9BC-0BDB575D4A06}"/>
              </a:ext>
            </a:extLst>
          </p:cNvPr>
          <p:cNvSpPr txBox="1"/>
          <p:nvPr/>
        </p:nvSpPr>
        <p:spPr>
          <a:xfrm>
            <a:off x="9012110" y="2944091"/>
            <a:ext cx="1024319" cy="553998"/>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i="0" u="none" baseline="0">
                <a:latin typeface="Arial"/>
                <a:ea typeface="MS PGothic"/>
              </a:rPr>
              <a:t>129</a:t>
            </a:r>
            <a:br>
              <a:rPr kumimoji="0" lang="en-gb" sz="12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hydropower plants</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over 8,300 MW</a:t>
            </a:r>
          </a:p>
        </p:txBody>
      </p:sp>
      <p:sp>
        <p:nvSpPr>
          <p:cNvPr id="343" name="Rechteck 342">
            <a:extLst>
              <a:ext uri="{FF2B5EF4-FFF2-40B4-BE49-F238E27FC236}">
                <a16:creationId xmlns:a16="http://schemas.microsoft.com/office/drawing/2014/main" id="{69403408-0A30-8DD2-9071-3EDF5FC8DA9A}"/>
              </a:ext>
            </a:extLst>
          </p:cNvPr>
          <p:cNvSpPr/>
          <p:nvPr/>
        </p:nvSpPr>
        <p:spPr>
          <a:xfrm>
            <a:off x="10411797" y="3446851"/>
            <a:ext cx="1649413" cy="55399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Environmental measure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i="0" u="none" baseline="0">
                <a:latin typeface="Arial"/>
                <a:ea typeface="MS PGothic"/>
              </a:rPr>
              <a:t>€280m </a:t>
            </a:r>
            <a:br>
              <a:rPr kumimoji="0" lang="en-gb" sz="1600" b="1"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investment by 2027 </a:t>
            </a:r>
          </a:p>
        </p:txBody>
      </p:sp>
      <p:sp>
        <p:nvSpPr>
          <p:cNvPr id="344" name="Rechteck 343">
            <a:extLst>
              <a:ext uri="{FF2B5EF4-FFF2-40B4-BE49-F238E27FC236}">
                <a16:creationId xmlns:a16="http://schemas.microsoft.com/office/drawing/2014/main" id="{8B6BE405-750E-867E-4914-8C6F3A95FC46}"/>
              </a:ext>
            </a:extLst>
          </p:cNvPr>
          <p:cNvSpPr/>
          <p:nvPr/>
        </p:nvSpPr>
        <p:spPr>
          <a:xfrm>
            <a:off x="5393678" y="2841484"/>
            <a:ext cx="1412246" cy="900246"/>
          </a:xfrm>
          <a:prstGeom prst="rect">
            <a:avLst/>
          </a:prstGeom>
        </p:spPr>
        <p:txBody>
          <a:bodyPr wrap="none" lIns="0" tIns="0" rIns="0" bIns="0" anchor="ctr">
            <a:spAutoFit/>
          </a:bodyPr>
          <a:lstStyle/>
          <a:p>
            <a:pPr marL="0" marR="0" lvl="0" indent="0" algn="ctr" defTabSz="914400" rtl="0" eaLnBrk="1" fontAlgn="auto" latinLnBrk="0" hangingPunct="1">
              <a:lnSpc>
                <a:spcPct val="90000"/>
              </a:lnSpc>
              <a:spcBef>
                <a:spcPts val="0"/>
              </a:spcBef>
              <a:spcAft>
                <a:spcPts val="0"/>
              </a:spcAft>
              <a:buClr>
                <a:srgbClr val="00488E"/>
              </a:buClr>
              <a:buSzTx/>
              <a:buFontTx/>
              <a:buNone/>
              <a:tabLst/>
              <a:defRPr/>
            </a:pPr>
            <a:r>
              <a:rPr kumimoji="0" lang="en-gb" sz="1000" b="0" i="0" u="none" strike="noStrike" kern="1200" cap="none" spc="-20" normalizeH="0" baseline="0">
                <a:ln>
                  <a:noFill/>
                </a:ln>
                <a:effectLst/>
                <a:uLnTx/>
                <a:uFillTx/>
                <a:latin typeface="Arial"/>
                <a:ea typeface="MS PGothic"/>
                <a:cs typeface="+mn-cs"/>
              </a:rPr>
              <a:t>First </a:t>
            </a:r>
            <a:br>
              <a:rPr kumimoji="0" lang="en-gb" sz="1000" b="0" i="0" u="none" strike="noStrike" kern="1200" cap="none" spc="-20" normalizeH="0">
                <a:ln>
                  <a:noFill/>
                </a:ln>
                <a:effectLst/>
                <a:uLnTx/>
                <a:uFillTx/>
                <a:latin typeface="Arial"/>
                <a:ea typeface="MS PGothic"/>
                <a:cs typeface="+mn-cs"/>
              </a:rPr>
            </a:br>
            <a:r>
              <a:rPr lang="en-gb" sz="1500" b="1" i="0" u="none" baseline="0">
                <a:latin typeface="Arial"/>
                <a:ea typeface="MS PGothic"/>
              </a:rPr>
              <a:t>Green Bond</a:t>
            </a:r>
            <a:br>
              <a:rPr lang="en-gb" sz="1500" b="1">
                <a:latin typeface="Arial"/>
                <a:ea typeface="MS PGothic"/>
              </a:rPr>
            </a:br>
            <a:r>
              <a:rPr lang="en-gb" sz="1500" b="1" i="0" u="none" baseline="0">
                <a:latin typeface="Arial"/>
                <a:ea typeface="MS PGothic"/>
              </a:rPr>
              <a:t>corporate </a:t>
            </a:r>
            <a:br>
              <a:rPr lang="en-gb" sz="1500" b="1">
                <a:latin typeface="Arial"/>
                <a:ea typeface="MS PGothic"/>
              </a:rPr>
            </a:br>
            <a:r>
              <a:rPr lang="en-gb" sz="1500" b="1" i="0" u="none" baseline="0">
                <a:latin typeface="Arial"/>
                <a:ea typeface="MS PGothic"/>
              </a:rPr>
              <a:t>bond </a:t>
            </a:r>
            <a:r>
              <a:rPr kumimoji="0" lang="en-gb" sz="1000" b="0" i="0" u="none" strike="noStrike" kern="1200" cap="none" spc="-20" normalizeH="0" baseline="0">
                <a:ln>
                  <a:noFill/>
                </a:ln>
                <a:effectLst/>
                <a:uLnTx/>
                <a:uFillTx/>
                <a:latin typeface="Arial"/>
                <a:ea typeface="MS PGothic"/>
                <a:cs typeface="+mn-cs"/>
              </a:rPr>
              <a:t>in German-</a:t>
            </a:r>
            <a:br>
              <a:rPr kumimoji="0" lang="en-gb" sz="1000" b="0" i="0" u="none" strike="noStrike" kern="1200" cap="none" spc="-20" normalizeH="0">
                <a:ln>
                  <a:noFill/>
                </a:ln>
                <a:effectLst/>
                <a:uLnTx/>
                <a:uFillTx/>
                <a:latin typeface="Arial"/>
                <a:ea typeface="MS PGothic"/>
                <a:cs typeface="+mn-cs"/>
              </a:rPr>
            </a:br>
            <a:r>
              <a:rPr kumimoji="0" lang="en-gb" sz="1000" b="0" i="0" u="none" strike="noStrike" kern="1200" cap="none" spc="-20" normalizeH="0" baseline="0">
                <a:ln>
                  <a:noFill/>
                </a:ln>
                <a:effectLst/>
                <a:uLnTx/>
                <a:uFillTx/>
                <a:latin typeface="Arial"/>
                <a:ea typeface="MS PGothic"/>
                <a:cs typeface="+mn-cs"/>
              </a:rPr>
              <a:t>speaking region</a:t>
            </a:r>
          </a:p>
        </p:txBody>
      </p:sp>
      <p:grpSp>
        <p:nvGrpSpPr>
          <p:cNvPr id="345" name="Gruppieren 344">
            <a:extLst>
              <a:ext uri="{FF2B5EF4-FFF2-40B4-BE49-F238E27FC236}">
                <a16:creationId xmlns:a16="http://schemas.microsoft.com/office/drawing/2014/main" id="{6C1FB511-13D3-2549-18AB-D22CC375E052}"/>
              </a:ext>
            </a:extLst>
          </p:cNvPr>
          <p:cNvGrpSpPr>
            <a:grpSpLocks noChangeAspect="1"/>
          </p:cNvGrpSpPr>
          <p:nvPr/>
        </p:nvGrpSpPr>
        <p:grpSpPr>
          <a:xfrm>
            <a:off x="9260743" y="3650902"/>
            <a:ext cx="527050" cy="508848"/>
            <a:chOff x="7559948" y="1482936"/>
            <a:chExt cx="366101" cy="353458"/>
          </a:xfrm>
        </p:grpSpPr>
        <p:sp>
          <p:nvSpPr>
            <p:cNvPr id="346" name="Freihandform: Form 345">
              <a:extLst>
                <a:ext uri="{FF2B5EF4-FFF2-40B4-BE49-F238E27FC236}">
                  <a16:creationId xmlns:a16="http://schemas.microsoft.com/office/drawing/2014/main" id="{5500BD1E-3A18-184C-EB74-4BE3F951047C}"/>
                </a:ext>
              </a:extLst>
            </p:cNvPr>
            <p:cNvSpPr/>
            <p:nvPr/>
          </p:nvSpPr>
          <p:spPr>
            <a:xfrm>
              <a:off x="7726388" y="1482936"/>
              <a:ext cx="199661" cy="209691"/>
            </a:xfrm>
            <a:custGeom>
              <a:avLst/>
              <a:gdLst>
                <a:gd name="connsiteX0" fmla="*/ 457412 w 1565931"/>
                <a:gd name="connsiteY0" fmla="*/ 1057751 h 1644594"/>
                <a:gd name="connsiteX1" fmla="*/ 3545 w 1565931"/>
                <a:gd name="connsiteY1" fmla="*/ 1239203 h 1644594"/>
                <a:gd name="connsiteX2" fmla="*/ 497 w 1565931"/>
                <a:gd name="connsiteY2" fmla="*/ 1083564 h 1644594"/>
                <a:gd name="connsiteX3" fmla="*/ 166518 w 1565931"/>
                <a:gd name="connsiteY3" fmla="*/ 616839 h 1644594"/>
                <a:gd name="connsiteX4" fmla="*/ 758878 w 1565931"/>
                <a:gd name="connsiteY4" fmla="*/ 412337 h 1644594"/>
                <a:gd name="connsiteX5" fmla="*/ 908801 w 1565931"/>
                <a:gd name="connsiteY5" fmla="*/ 474155 h 1644594"/>
                <a:gd name="connsiteX6" fmla="*/ 977572 w 1565931"/>
                <a:gd name="connsiteY6" fmla="*/ 0 h 1644594"/>
                <a:gd name="connsiteX7" fmla="*/ 1190551 w 1565931"/>
                <a:gd name="connsiteY7" fmla="*/ 123825 h 1644594"/>
                <a:gd name="connsiteX8" fmla="*/ 1464680 w 1565931"/>
                <a:gd name="connsiteY8" fmla="*/ 576263 h 1644594"/>
                <a:gd name="connsiteX9" fmla="*/ 1259893 w 1565931"/>
                <a:gd name="connsiteY9" fmla="*/ 1112330 h 1644594"/>
                <a:gd name="connsiteX10" fmla="*/ 1224079 w 1565931"/>
                <a:gd name="connsiteY10" fmla="*/ 1135094 h 1644594"/>
                <a:gd name="connsiteX11" fmla="*/ 1180359 w 1565931"/>
                <a:gd name="connsiteY11" fmla="*/ 1157288 h 1644594"/>
                <a:gd name="connsiteX12" fmla="*/ 1565931 w 1565931"/>
                <a:gd name="connsiteY12" fmla="*/ 1462088 h 1644594"/>
                <a:gd name="connsiteX13" fmla="*/ 1432581 w 1565931"/>
                <a:gd name="connsiteY13" fmla="*/ 1542764 h 1644594"/>
                <a:gd name="connsiteX14" fmla="*/ 881655 w 1565931"/>
                <a:gd name="connsiteY14" fmla="*/ 1615916 h 1644594"/>
                <a:gd name="connsiteX15" fmla="*/ 468937 w 1565931"/>
                <a:gd name="connsiteY15" fmla="*/ 1209485 h 1644594"/>
                <a:gd name="connsiteX16" fmla="*/ 457221 w 1565931"/>
                <a:gd name="connsiteY16" fmla="*/ 1137285 h 1644594"/>
                <a:gd name="connsiteX17" fmla="*/ 457412 w 1565931"/>
                <a:gd name="connsiteY17" fmla="*/ 1057751 h 1644594"/>
                <a:gd name="connsiteX18" fmla="*/ 847270 w 1565931"/>
                <a:gd name="connsiteY18" fmla="*/ 578358 h 1644594"/>
                <a:gd name="connsiteX19" fmla="*/ 527325 w 1565931"/>
                <a:gd name="connsiteY19" fmla="*/ 902208 h 1644594"/>
                <a:gd name="connsiteX20" fmla="*/ 849270 w 1565931"/>
                <a:gd name="connsiteY20" fmla="*/ 1221581 h 1644594"/>
                <a:gd name="connsiteX21" fmla="*/ 1168739 w 1565931"/>
                <a:gd name="connsiteY21" fmla="*/ 886682 h 1644594"/>
                <a:gd name="connsiteX22" fmla="*/ 847270 w 1565931"/>
                <a:gd name="connsiteY22" fmla="*/ 578358 h 1644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65931" h="1644594">
                  <a:moveTo>
                    <a:pt x="457412" y="1057751"/>
                  </a:moveTo>
                  <a:lnTo>
                    <a:pt x="3545" y="1239203"/>
                  </a:lnTo>
                  <a:cubicBezTo>
                    <a:pt x="2307" y="1184624"/>
                    <a:pt x="-1312" y="1133951"/>
                    <a:pt x="497" y="1083564"/>
                  </a:cubicBezTo>
                  <a:cubicBezTo>
                    <a:pt x="6498" y="910781"/>
                    <a:pt x="48122" y="747808"/>
                    <a:pt x="166518" y="616839"/>
                  </a:cubicBezTo>
                  <a:cubicBezTo>
                    <a:pt x="324633" y="441674"/>
                    <a:pt x="521039" y="359664"/>
                    <a:pt x="758878" y="412337"/>
                  </a:cubicBezTo>
                  <a:cubicBezTo>
                    <a:pt x="809170" y="423482"/>
                    <a:pt x="855652" y="451676"/>
                    <a:pt x="908801" y="474155"/>
                  </a:cubicBezTo>
                  <a:cubicBezTo>
                    <a:pt x="931090" y="320167"/>
                    <a:pt x="954016" y="162116"/>
                    <a:pt x="977572" y="0"/>
                  </a:cubicBezTo>
                  <a:cubicBezTo>
                    <a:pt x="1054096" y="30935"/>
                    <a:pt x="1125809" y="72631"/>
                    <a:pt x="1190551" y="123825"/>
                  </a:cubicBezTo>
                  <a:cubicBezTo>
                    <a:pt x="1339617" y="239554"/>
                    <a:pt x="1444964" y="384429"/>
                    <a:pt x="1464680" y="576263"/>
                  </a:cubicBezTo>
                  <a:cubicBezTo>
                    <a:pt x="1486397" y="787241"/>
                    <a:pt x="1437534" y="975550"/>
                    <a:pt x="1259893" y="1112330"/>
                  </a:cubicBezTo>
                  <a:cubicBezTo>
                    <a:pt x="1248520" y="1120778"/>
                    <a:pt x="1236557" y="1128389"/>
                    <a:pt x="1224079" y="1135094"/>
                  </a:cubicBezTo>
                  <a:cubicBezTo>
                    <a:pt x="1211792" y="1142048"/>
                    <a:pt x="1198933" y="1147953"/>
                    <a:pt x="1180359" y="1157288"/>
                  </a:cubicBezTo>
                  <a:lnTo>
                    <a:pt x="1565931" y="1462088"/>
                  </a:lnTo>
                  <a:cubicBezTo>
                    <a:pt x="1519544" y="1490663"/>
                    <a:pt x="1477730" y="1519238"/>
                    <a:pt x="1432581" y="1542764"/>
                  </a:cubicBezTo>
                  <a:cubicBezTo>
                    <a:pt x="1258083" y="1633919"/>
                    <a:pt x="1074251" y="1677448"/>
                    <a:pt x="881655" y="1615916"/>
                  </a:cubicBezTo>
                  <a:cubicBezTo>
                    <a:pt x="678106" y="1550956"/>
                    <a:pt x="528563" y="1423797"/>
                    <a:pt x="468937" y="1209485"/>
                  </a:cubicBezTo>
                  <a:cubicBezTo>
                    <a:pt x="462784" y="1185834"/>
                    <a:pt x="458859" y="1161669"/>
                    <a:pt x="457221" y="1137285"/>
                  </a:cubicBezTo>
                  <a:cubicBezTo>
                    <a:pt x="455888" y="1113473"/>
                    <a:pt x="457412" y="1089470"/>
                    <a:pt x="457412" y="1057751"/>
                  </a:cubicBezTo>
                  <a:close/>
                  <a:moveTo>
                    <a:pt x="847270" y="578358"/>
                  </a:moveTo>
                  <a:cubicBezTo>
                    <a:pt x="671153" y="579977"/>
                    <a:pt x="524182" y="728853"/>
                    <a:pt x="527325" y="902208"/>
                  </a:cubicBezTo>
                  <a:cubicBezTo>
                    <a:pt x="530468" y="1075563"/>
                    <a:pt x="676105" y="1221010"/>
                    <a:pt x="849270" y="1221581"/>
                  </a:cubicBezTo>
                  <a:cubicBezTo>
                    <a:pt x="1029197" y="1222248"/>
                    <a:pt x="1170644" y="1073849"/>
                    <a:pt x="1168739" y="886682"/>
                  </a:cubicBezTo>
                  <a:cubicBezTo>
                    <a:pt x="1167024" y="718757"/>
                    <a:pt x="1019005" y="576644"/>
                    <a:pt x="847270" y="578358"/>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47" name="Freihandform: Form 346">
              <a:extLst>
                <a:ext uri="{FF2B5EF4-FFF2-40B4-BE49-F238E27FC236}">
                  <a16:creationId xmlns:a16="http://schemas.microsoft.com/office/drawing/2014/main" id="{9FE97BEF-D149-CBFA-4FF2-310DB33EE282}"/>
                </a:ext>
              </a:extLst>
            </p:cNvPr>
            <p:cNvSpPr/>
            <p:nvPr/>
          </p:nvSpPr>
          <p:spPr>
            <a:xfrm>
              <a:off x="7560252" y="1778914"/>
              <a:ext cx="273279" cy="57480"/>
            </a:xfrm>
            <a:custGeom>
              <a:avLst/>
              <a:gdLst>
                <a:gd name="connsiteX0" fmla="*/ 2142935 w 2143315"/>
                <a:gd name="connsiteY0" fmla="*/ 447292 h 450815"/>
                <a:gd name="connsiteX1" fmla="*/ 1818513 w 2143315"/>
                <a:gd name="connsiteY1" fmla="*/ 326324 h 450815"/>
                <a:gd name="connsiteX2" fmla="*/ 1655731 w 2143315"/>
                <a:gd name="connsiteY2" fmla="*/ 235932 h 450815"/>
                <a:gd name="connsiteX3" fmla="*/ 1454849 w 2143315"/>
                <a:gd name="connsiteY3" fmla="*/ 282033 h 450815"/>
                <a:gd name="connsiteX4" fmla="*/ 1310926 w 2143315"/>
                <a:gd name="connsiteY4" fmla="*/ 385474 h 450815"/>
                <a:gd name="connsiteX5" fmla="*/ 742093 w 2143315"/>
                <a:gd name="connsiteY5" fmla="*/ 325562 h 450815"/>
                <a:gd name="connsiteX6" fmla="*/ 601409 w 2143315"/>
                <a:gd name="connsiteY6" fmla="*/ 242123 h 450815"/>
                <a:gd name="connsiteX7" fmla="*/ 363284 w 2143315"/>
                <a:gd name="connsiteY7" fmla="*/ 294796 h 450815"/>
                <a:gd name="connsiteX8" fmla="*/ 106394 w 2143315"/>
                <a:gd name="connsiteY8" fmla="*/ 435957 h 450815"/>
                <a:gd name="connsiteX9" fmla="*/ 0 w 2143315"/>
                <a:gd name="connsiteY9" fmla="*/ 450816 h 450815"/>
                <a:gd name="connsiteX10" fmla="*/ 0 w 2143315"/>
                <a:gd name="connsiteY10" fmla="*/ 217168 h 450815"/>
                <a:gd name="connsiteX11" fmla="*/ 211265 w 2143315"/>
                <a:gd name="connsiteY11" fmla="*/ 121155 h 450815"/>
                <a:gd name="connsiteX12" fmla="*/ 856012 w 2143315"/>
                <a:gd name="connsiteY12" fmla="*/ 119536 h 450815"/>
                <a:gd name="connsiteX13" fmla="*/ 1071658 w 2143315"/>
                <a:gd name="connsiteY13" fmla="*/ 217644 h 450815"/>
                <a:gd name="connsiteX14" fmla="*/ 1229582 w 2143315"/>
                <a:gd name="connsiteY14" fmla="*/ 165256 h 450815"/>
                <a:gd name="connsiteX15" fmla="*/ 1404938 w 2143315"/>
                <a:gd name="connsiteY15" fmla="*/ 47432 h 450815"/>
                <a:gd name="connsiteX16" fmla="*/ 1926145 w 2143315"/>
                <a:gd name="connsiteY16" fmla="*/ 115917 h 450815"/>
                <a:gd name="connsiteX17" fmla="*/ 2086642 w 2143315"/>
                <a:gd name="connsiteY17" fmla="*/ 211167 h 450815"/>
                <a:gd name="connsiteX18" fmla="*/ 2143316 w 2143315"/>
                <a:gd name="connsiteY18" fmla="*/ 218882 h 45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3315" h="450815">
                  <a:moveTo>
                    <a:pt x="2142935" y="447292"/>
                  </a:moveTo>
                  <a:cubicBezTo>
                    <a:pt x="2017109" y="448149"/>
                    <a:pt x="1912144" y="402810"/>
                    <a:pt x="1818513" y="326324"/>
                  </a:cubicBezTo>
                  <a:cubicBezTo>
                    <a:pt x="1769840" y="286605"/>
                    <a:pt x="1722406" y="244980"/>
                    <a:pt x="1655731" y="235932"/>
                  </a:cubicBezTo>
                  <a:cubicBezTo>
                    <a:pt x="1582293" y="226407"/>
                    <a:pt x="1515237" y="236503"/>
                    <a:pt x="1454849" y="282033"/>
                  </a:cubicBezTo>
                  <a:cubicBezTo>
                    <a:pt x="1407700" y="317656"/>
                    <a:pt x="1361980" y="356233"/>
                    <a:pt x="1310926" y="385474"/>
                  </a:cubicBezTo>
                  <a:cubicBezTo>
                    <a:pt x="1129284" y="489297"/>
                    <a:pt x="914591" y="463484"/>
                    <a:pt x="742093" y="325562"/>
                  </a:cubicBezTo>
                  <a:cubicBezTo>
                    <a:pt x="699706" y="291653"/>
                    <a:pt x="652177" y="258125"/>
                    <a:pt x="601409" y="242123"/>
                  </a:cubicBezTo>
                  <a:cubicBezTo>
                    <a:pt x="515684" y="215072"/>
                    <a:pt x="433864" y="235360"/>
                    <a:pt x="363284" y="294796"/>
                  </a:cubicBezTo>
                  <a:cubicBezTo>
                    <a:pt x="287369" y="358804"/>
                    <a:pt x="206978" y="416907"/>
                    <a:pt x="106394" y="435957"/>
                  </a:cubicBezTo>
                  <a:cubicBezTo>
                    <a:pt x="72485" y="442434"/>
                    <a:pt x="38005" y="445482"/>
                    <a:pt x="0" y="450816"/>
                  </a:cubicBezTo>
                  <a:lnTo>
                    <a:pt x="0" y="217168"/>
                  </a:lnTo>
                  <a:cubicBezTo>
                    <a:pt x="87058" y="222311"/>
                    <a:pt x="148876" y="171733"/>
                    <a:pt x="211265" y="121155"/>
                  </a:cubicBezTo>
                  <a:cubicBezTo>
                    <a:pt x="409099" y="-39341"/>
                    <a:pt x="657034" y="-40007"/>
                    <a:pt x="856012" y="119536"/>
                  </a:cubicBezTo>
                  <a:cubicBezTo>
                    <a:pt x="919734" y="170686"/>
                    <a:pt x="982409" y="220882"/>
                    <a:pt x="1071658" y="217644"/>
                  </a:cubicBezTo>
                  <a:cubicBezTo>
                    <a:pt x="1128474" y="217082"/>
                    <a:pt x="1183691" y="198765"/>
                    <a:pt x="1229582" y="165256"/>
                  </a:cubicBezTo>
                  <a:cubicBezTo>
                    <a:pt x="1286732" y="123537"/>
                    <a:pt x="1341501" y="75721"/>
                    <a:pt x="1404938" y="47432"/>
                  </a:cubicBezTo>
                  <a:cubicBezTo>
                    <a:pt x="1590199" y="-35150"/>
                    <a:pt x="1765554" y="-8384"/>
                    <a:pt x="1926145" y="115917"/>
                  </a:cubicBezTo>
                  <a:cubicBezTo>
                    <a:pt x="1975676" y="154017"/>
                    <a:pt x="2020824" y="200308"/>
                    <a:pt x="2086642" y="211167"/>
                  </a:cubicBezTo>
                  <a:cubicBezTo>
                    <a:pt x="2104358" y="214120"/>
                    <a:pt x="2122265" y="216025"/>
                    <a:pt x="2143316" y="218882"/>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48" name="Freihandform: Form 347">
              <a:extLst>
                <a:ext uri="{FF2B5EF4-FFF2-40B4-BE49-F238E27FC236}">
                  <a16:creationId xmlns:a16="http://schemas.microsoft.com/office/drawing/2014/main" id="{32DD7BDF-5B34-ABDD-BA7D-F64716760F86}"/>
                </a:ext>
              </a:extLst>
            </p:cNvPr>
            <p:cNvSpPr/>
            <p:nvPr/>
          </p:nvSpPr>
          <p:spPr>
            <a:xfrm>
              <a:off x="7560191" y="1717431"/>
              <a:ext cx="273522" cy="57081"/>
            </a:xfrm>
            <a:custGeom>
              <a:avLst/>
              <a:gdLst>
                <a:gd name="connsiteX0" fmla="*/ 2145221 w 2145220"/>
                <a:gd name="connsiteY0" fmla="*/ 220742 h 447683"/>
                <a:gd name="connsiteX1" fmla="*/ 2145221 w 2145220"/>
                <a:gd name="connsiteY1" fmla="*/ 445247 h 447683"/>
                <a:gd name="connsiteX2" fmla="*/ 1923098 w 2145220"/>
                <a:gd name="connsiteY2" fmla="*/ 394192 h 447683"/>
                <a:gd name="connsiteX3" fmla="*/ 1775174 w 2145220"/>
                <a:gd name="connsiteY3" fmla="*/ 290084 h 447683"/>
                <a:gd name="connsiteX4" fmla="*/ 1443323 w 2145220"/>
                <a:gd name="connsiteY4" fmla="*/ 290084 h 447683"/>
                <a:gd name="connsiteX5" fmla="*/ 1217200 w 2145220"/>
                <a:gd name="connsiteY5" fmla="*/ 426768 h 447683"/>
                <a:gd name="connsiteX6" fmla="*/ 764953 w 2145220"/>
                <a:gd name="connsiteY6" fmla="*/ 341519 h 447683"/>
                <a:gd name="connsiteX7" fmla="*/ 695134 w 2145220"/>
                <a:gd name="connsiteY7" fmla="*/ 286655 h 447683"/>
                <a:gd name="connsiteX8" fmla="*/ 369475 w 2145220"/>
                <a:gd name="connsiteY8" fmla="*/ 289132 h 447683"/>
                <a:gd name="connsiteX9" fmla="*/ 224790 w 2145220"/>
                <a:gd name="connsiteY9" fmla="*/ 391144 h 447683"/>
                <a:gd name="connsiteX10" fmla="*/ 0 w 2145220"/>
                <a:gd name="connsiteY10" fmla="*/ 445818 h 447683"/>
                <a:gd name="connsiteX11" fmla="*/ 0 w 2145220"/>
                <a:gd name="connsiteY11" fmla="*/ 218266 h 447683"/>
                <a:gd name="connsiteX12" fmla="*/ 239363 w 2145220"/>
                <a:gd name="connsiteY12" fmla="*/ 99298 h 447683"/>
                <a:gd name="connsiteX13" fmla="*/ 866489 w 2145220"/>
                <a:gd name="connsiteY13" fmla="*/ 126731 h 447683"/>
                <a:gd name="connsiteX14" fmla="*/ 1037939 w 2145220"/>
                <a:gd name="connsiteY14" fmla="*/ 215218 h 447683"/>
                <a:gd name="connsiteX15" fmla="*/ 1223772 w 2145220"/>
                <a:gd name="connsiteY15" fmla="*/ 168355 h 447683"/>
                <a:gd name="connsiteX16" fmla="*/ 1287780 w 2145220"/>
                <a:gd name="connsiteY16" fmla="*/ 118539 h 447683"/>
                <a:gd name="connsiteX17" fmla="*/ 1939385 w 2145220"/>
                <a:gd name="connsiteY17" fmla="*/ 126159 h 447683"/>
                <a:gd name="connsiteX18" fmla="*/ 2145221 w 2145220"/>
                <a:gd name="connsiteY18" fmla="*/ 220742 h 44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5220" h="447683">
                  <a:moveTo>
                    <a:pt x="2145221" y="220742"/>
                  </a:moveTo>
                  <a:lnTo>
                    <a:pt x="2145221" y="445247"/>
                  </a:lnTo>
                  <a:cubicBezTo>
                    <a:pt x="2067792" y="450199"/>
                    <a:pt x="1990592" y="432454"/>
                    <a:pt x="1923098" y="394192"/>
                  </a:cubicBezTo>
                  <a:cubicBezTo>
                    <a:pt x="1870548" y="364341"/>
                    <a:pt x="1821009" y="329470"/>
                    <a:pt x="1775174" y="290084"/>
                  </a:cubicBezTo>
                  <a:cubicBezTo>
                    <a:pt x="1690021" y="215503"/>
                    <a:pt x="1530001" y="213884"/>
                    <a:pt x="1443323" y="290084"/>
                  </a:cubicBezTo>
                  <a:cubicBezTo>
                    <a:pt x="1376648" y="348853"/>
                    <a:pt x="1305116" y="403051"/>
                    <a:pt x="1217200" y="426768"/>
                  </a:cubicBezTo>
                  <a:cubicBezTo>
                    <a:pt x="1053275" y="470964"/>
                    <a:pt x="901255" y="446294"/>
                    <a:pt x="764953" y="341519"/>
                  </a:cubicBezTo>
                  <a:cubicBezTo>
                    <a:pt x="741521" y="323422"/>
                    <a:pt x="717328" y="306563"/>
                    <a:pt x="695134" y="286655"/>
                  </a:cubicBezTo>
                  <a:cubicBezTo>
                    <a:pt x="616553" y="214741"/>
                    <a:pt x="454247" y="215123"/>
                    <a:pt x="369475" y="289132"/>
                  </a:cubicBezTo>
                  <a:cubicBezTo>
                    <a:pt x="324618" y="327679"/>
                    <a:pt x="276168" y="361846"/>
                    <a:pt x="224790" y="391144"/>
                  </a:cubicBezTo>
                  <a:cubicBezTo>
                    <a:pt x="151162" y="433816"/>
                    <a:pt x="91440" y="445247"/>
                    <a:pt x="0" y="445818"/>
                  </a:cubicBezTo>
                  <a:lnTo>
                    <a:pt x="0" y="218266"/>
                  </a:lnTo>
                  <a:cubicBezTo>
                    <a:pt x="99917" y="223123"/>
                    <a:pt x="165068" y="153210"/>
                    <a:pt x="239363" y="99298"/>
                  </a:cubicBezTo>
                  <a:cubicBezTo>
                    <a:pt x="434912" y="-42624"/>
                    <a:pt x="673227" y="-31480"/>
                    <a:pt x="866489" y="126731"/>
                  </a:cubicBezTo>
                  <a:cubicBezTo>
                    <a:pt x="917448" y="168355"/>
                    <a:pt x="967835" y="209217"/>
                    <a:pt x="1037939" y="215218"/>
                  </a:cubicBezTo>
                  <a:cubicBezTo>
                    <a:pt x="1106043" y="220933"/>
                    <a:pt x="1168527" y="210360"/>
                    <a:pt x="1223772" y="168355"/>
                  </a:cubicBezTo>
                  <a:cubicBezTo>
                    <a:pt x="1245299" y="152067"/>
                    <a:pt x="1266349" y="135017"/>
                    <a:pt x="1287780" y="118539"/>
                  </a:cubicBezTo>
                  <a:cubicBezTo>
                    <a:pt x="1496187" y="-41957"/>
                    <a:pt x="1734598" y="-39100"/>
                    <a:pt x="1939385" y="126159"/>
                  </a:cubicBezTo>
                  <a:cubicBezTo>
                    <a:pt x="2030921" y="199311"/>
                    <a:pt x="2030921" y="199311"/>
                    <a:pt x="2145221" y="220742"/>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49" name="Freihandform: Form 348">
              <a:extLst>
                <a:ext uri="{FF2B5EF4-FFF2-40B4-BE49-F238E27FC236}">
                  <a16:creationId xmlns:a16="http://schemas.microsoft.com/office/drawing/2014/main" id="{4FC70C56-D623-5A75-B8B0-CC0DDC3E3AE6}"/>
                </a:ext>
              </a:extLst>
            </p:cNvPr>
            <p:cNvSpPr/>
            <p:nvPr/>
          </p:nvSpPr>
          <p:spPr>
            <a:xfrm>
              <a:off x="7559948" y="1655893"/>
              <a:ext cx="224348" cy="57281"/>
            </a:xfrm>
            <a:custGeom>
              <a:avLst/>
              <a:gdLst>
                <a:gd name="connsiteX0" fmla="*/ 0 w 1759553"/>
                <a:gd name="connsiteY0" fmla="*/ 443348 h 449251"/>
                <a:gd name="connsiteX1" fmla="*/ 0 w 1759553"/>
                <a:gd name="connsiteY1" fmla="*/ 216272 h 449251"/>
                <a:gd name="connsiteX2" fmla="*/ 224028 w 1759553"/>
                <a:gd name="connsiteY2" fmla="*/ 112640 h 449251"/>
                <a:gd name="connsiteX3" fmla="*/ 862965 w 1759553"/>
                <a:gd name="connsiteY3" fmla="*/ 123023 h 449251"/>
                <a:gd name="connsiteX4" fmla="*/ 1060514 w 1759553"/>
                <a:gd name="connsiteY4" fmla="*/ 216653 h 449251"/>
                <a:gd name="connsiteX5" fmla="*/ 1248727 w 1759553"/>
                <a:gd name="connsiteY5" fmla="*/ 151693 h 449251"/>
                <a:gd name="connsiteX6" fmla="*/ 1522381 w 1759553"/>
                <a:gd name="connsiteY6" fmla="*/ 9389 h 449251"/>
                <a:gd name="connsiteX7" fmla="*/ 1541431 w 1759553"/>
                <a:gd name="connsiteY7" fmla="*/ 6341 h 449251"/>
                <a:gd name="connsiteX8" fmla="*/ 1626203 w 1759553"/>
                <a:gd name="connsiteY8" fmla="*/ 51871 h 449251"/>
                <a:gd name="connsiteX9" fmla="*/ 1759553 w 1759553"/>
                <a:gd name="connsiteY9" fmla="*/ 273708 h 449251"/>
                <a:gd name="connsiteX10" fmla="*/ 1647920 w 1759553"/>
                <a:gd name="connsiteY10" fmla="*/ 235608 h 449251"/>
                <a:gd name="connsiteX11" fmla="*/ 1458468 w 1759553"/>
                <a:gd name="connsiteY11" fmla="*/ 280376 h 449251"/>
                <a:gd name="connsiteX12" fmla="*/ 1255395 w 1759553"/>
                <a:gd name="connsiteY12" fmla="*/ 411249 h 449251"/>
                <a:gd name="connsiteX13" fmla="*/ 749522 w 1759553"/>
                <a:gd name="connsiteY13" fmla="*/ 327239 h 449251"/>
                <a:gd name="connsiteX14" fmla="*/ 567976 w 1759553"/>
                <a:gd name="connsiteY14" fmla="*/ 233132 h 449251"/>
                <a:gd name="connsiteX15" fmla="*/ 389001 w 1759553"/>
                <a:gd name="connsiteY15" fmla="*/ 277613 h 449251"/>
                <a:gd name="connsiteX16" fmla="*/ 284226 w 1759553"/>
                <a:gd name="connsiteY16" fmla="*/ 357147 h 449251"/>
                <a:gd name="connsiteX17" fmla="*/ 0 w 1759553"/>
                <a:gd name="connsiteY17" fmla="*/ 443348 h 44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59553" h="449251">
                  <a:moveTo>
                    <a:pt x="0" y="443348"/>
                  </a:moveTo>
                  <a:lnTo>
                    <a:pt x="0" y="216272"/>
                  </a:lnTo>
                  <a:cubicBezTo>
                    <a:pt x="94488" y="223988"/>
                    <a:pt x="156686" y="164075"/>
                    <a:pt x="224028" y="112640"/>
                  </a:cubicBezTo>
                  <a:cubicBezTo>
                    <a:pt x="425863" y="-41474"/>
                    <a:pt x="666179" y="-36902"/>
                    <a:pt x="862965" y="123023"/>
                  </a:cubicBezTo>
                  <a:cubicBezTo>
                    <a:pt x="921163" y="170648"/>
                    <a:pt x="978408" y="215796"/>
                    <a:pt x="1060514" y="216653"/>
                  </a:cubicBezTo>
                  <a:cubicBezTo>
                    <a:pt x="1132523" y="217320"/>
                    <a:pt x="1193864" y="198270"/>
                    <a:pt x="1248727" y="151693"/>
                  </a:cubicBezTo>
                  <a:cubicBezTo>
                    <a:pt x="1328833" y="83113"/>
                    <a:pt x="1415510" y="26725"/>
                    <a:pt x="1522381" y="9389"/>
                  </a:cubicBezTo>
                  <a:cubicBezTo>
                    <a:pt x="1528763" y="8342"/>
                    <a:pt x="1535144" y="7580"/>
                    <a:pt x="1541431" y="6341"/>
                  </a:cubicBezTo>
                  <a:cubicBezTo>
                    <a:pt x="1582388" y="-1945"/>
                    <a:pt x="1605058" y="9294"/>
                    <a:pt x="1626203" y="51871"/>
                  </a:cubicBezTo>
                  <a:cubicBezTo>
                    <a:pt x="1666875" y="134072"/>
                    <a:pt x="1720215" y="210081"/>
                    <a:pt x="1759553" y="273708"/>
                  </a:cubicBezTo>
                  <a:cubicBezTo>
                    <a:pt x="1734407" y="264850"/>
                    <a:pt x="1692307" y="245133"/>
                    <a:pt x="1647920" y="235608"/>
                  </a:cubicBezTo>
                  <a:cubicBezTo>
                    <a:pt x="1579721" y="222178"/>
                    <a:pt x="1516475" y="239228"/>
                    <a:pt x="1458468" y="280376"/>
                  </a:cubicBezTo>
                  <a:cubicBezTo>
                    <a:pt x="1392650" y="326953"/>
                    <a:pt x="1328833" y="382007"/>
                    <a:pt x="1255395" y="411249"/>
                  </a:cubicBezTo>
                  <a:cubicBezTo>
                    <a:pt x="1073468" y="483639"/>
                    <a:pt x="902303" y="450968"/>
                    <a:pt x="749522" y="327239"/>
                  </a:cubicBezTo>
                  <a:cubicBezTo>
                    <a:pt x="695516" y="283519"/>
                    <a:pt x="642842" y="238370"/>
                    <a:pt x="567976" y="233132"/>
                  </a:cubicBezTo>
                  <a:cubicBezTo>
                    <a:pt x="502920" y="228750"/>
                    <a:pt x="442341" y="237704"/>
                    <a:pt x="389001" y="277613"/>
                  </a:cubicBezTo>
                  <a:cubicBezTo>
                    <a:pt x="353949" y="303807"/>
                    <a:pt x="320230" y="331811"/>
                    <a:pt x="284226" y="357147"/>
                  </a:cubicBezTo>
                  <a:cubicBezTo>
                    <a:pt x="195453" y="420679"/>
                    <a:pt x="87249" y="453254"/>
                    <a:pt x="0" y="443348"/>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350" name="Freihandform: Form 349">
              <a:extLst>
                <a:ext uri="{FF2B5EF4-FFF2-40B4-BE49-F238E27FC236}">
                  <a16:creationId xmlns:a16="http://schemas.microsoft.com/office/drawing/2014/main" id="{6EBFF8E4-AA32-8EEE-6E96-0B74370857F6}"/>
                </a:ext>
              </a:extLst>
            </p:cNvPr>
            <p:cNvSpPr/>
            <p:nvPr/>
          </p:nvSpPr>
          <p:spPr>
            <a:xfrm>
              <a:off x="7808099" y="1570835"/>
              <a:ext cx="53347" cy="53441"/>
            </a:xfrm>
            <a:custGeom>
              <a:avLst/>
              <a:gdLst>
                <a:gd name="connsiteX0" fmla="*/ 206983 w 418396"/>
                <a:gd name="connsiteY0" fmla="*/ 419130 h 419135"/>
                <a:gd name="connsiteX1" fmla="*/ 5 w 418396"/>
                <a:gd name="connsiteY1" fmla="*/ 206437 h 419135"/>
                <a:gd name="connsiteX2" fmla="*/ 207907 w 418396"/>
                <a:gd name="connsiteY2" fmla="*/ 1 h 419135"/>
                <a:gd name="connsiteX3" fmla="*/ 210412 w 418396"/>
                <a:gd name="connsiteY3" fmla="*/ 30 h 419135"/>
                <a:gd name="connsiteX4" fmla="*/ 418390 w 418396"/>
                <a:gd name="connsiteY4" fmla="*/ 211151 h 419135"/>
                <a:gd name="connsiteX5" fmla="*/ 207269 w 418396"/>
                <a:gd name="connsiteY5" fmla="*/ 419130 h 419135"/>
                <a:gd name="connsiteX6" fmla="*/ 207650 w 418396"/>
                <a:gd name="connsiteY6" fmla="*/ 121664 h 419135"/>
                <a:gd name="connsiteX7" fmla="*/ 118686 w 418396"/>
                <a:gd name="connsiteY7" fmla="*/ 209866 h 419135"/>
                <a:gd name="connsiteX8" fmla="*/ 210698 w 418396"/>
                <a:gd name="connsiteY8" fmla="*/ 299972 h 419135"/>
                <a:gd name="connsiteX9" fmla="*/ 296423 w 418396"/>
                <a:gd name="connsiteY9" fmla="*/ 208818 h 419135"/>
                <a:gd name="connsiteX10" fmla="*/ 208993 w 418396"/>
                <a:gd name="connsiteY10" fmla="*/ 121559 h 419135"/>
                <a:gd name="connsiteX11" fmla="*/ 207650 w 418396"/>
                <a:gd name="connsiteY11" fmla="*/ 121569 h 41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396" h="419135">
                  <a:moveTo>
                    <a:pt x="206983" y="419130"/>
                  </a:moveTo>
                  <a:cubicBezTo>
                    <a:pt x="89254" y="418558"/>
                    <a:pt x="-757" y="326071"/>
                    <a:pt x="5" y="206437"/>
                  </a:cubicBezTo>
                  <a:cubicBezTo>
                    <a:pt x="414" y="92022"/>
                    <a:pt x="93493" y="-399"/>
                    <a:pt x="207907" y="1"/>
                  </a:cubicBezTo>
                  <a:cubicBezTo>
                    <a:pt x="208745" y="11"/>
                    <a:pt x="209574" y="20"/>
                    <a:pt x="210412" y="30"/>
                  </a:cubicBezTo>
                  <a:cubicBezTo>
                    <a:pt x="326141" y="897"/>
                    <a:pt x="419257" y="95423"/>
                    <a:pt x="418390" y="211151"/>
                  </a:cubicBezTo>
                  <a:cubicBezTo>
                    <a:pt x="417524" y="326880"/>
                    <a:pt x="322998" y="419997"/>
                    <a:pt x="207269" y="419130"/>
                  </a:cubicBezTo>
                  <a:close/>
                  <a:moveTo>
                    <a:pt x="207650" y="121664"/>
                  </a:moveTo>
                  <a:cubicBezTo>
                    <a:pt x="159272" y="122750"/>
                    <a:pt x="120191" y="161498"/>
                    <a:pt x="118686" y="209866"/>
                  </a:cubicBezTo>
                  <a:cubicBezTo>
                    <a:pt x="117734" y="256824"/>
                    <a:pt x="163263" y="301496"/>
                    <a:pt x="210698" y="299972"/>
                  </a:cubicBezTo>
                  <a:cubicBezTo>
                    <a:pt x="259266" y="297858"/>
                    <a:pt x="297299" y="257424"/>
                    <a:pt x="296423" y="208818"/>
                  </a:cubicBezTo>
                  <a:cubicBezTo>
                    <a:pt x="296375" y="160583"/>
                    <a:pt x="257237" y="121512"/>
                    <a:pt x="208993" y="121559"/>
                  </a:cubicBezTo>
                  <a:cubicBezTo>
                    <a:pt x="208545" y="121559"/>
                    <a:pt x="208097" y="121559"/>
                    <a:pt x="207650" y="121569"/>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grpSp>
      <p:pic>
        <p:nvPicPr>
          <p:cNvPr id="352" name="Grafik 351">
            <a:extLst>
              <a:ext uri="{FF2B5EF4-FFF2-40B4-BE49-F238E27FC236}">
                <a16:creationId xmlns:a16="http://schemas.microsoft.com/office/drawing/2014/main" id="{3252AD27-C309-DCA5-81FA-5971EBCD0408}"/>
              </a:ext>
            </a:extLst>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10972978" y="2887587"/>
            <a:ext cx="527050" cy="404020"/>
          </a:xfrm>
          <a:prstGeom prst="rect">
            <a:avLst/>
          </a:prstGeom>
        </p:spPr>
      </p:pic>
      <p:pic>
        <p:nvPicPr>
          <p:cNvPr id="353" name="Grafik 352">
            <a:extLst>
              <a:ext uri="{FF2B5EF4-FFF2-40B4-BE49-F238E27FC236}">
                <a16:creationId xmlns:a16="http://schemas.microsoft.com/office/drawing/2014/main" id="{505A6DA0-CD9A-ADB6-D4EA-05CE0CA49792}"/>
              </a:ext>
            </a:extLst>
          </p:cNvPr>
          <p:cNvPicPr>
            <a:picLocks noChangeAspect="1"/>
          </p:cNvPicPr>
          <p:nvPr/>
        </p:nvPicPr>
        <p:blipFill>
          <a:blip r:embed="rId58" cstate="screen">
            <a:extLst>
              <a:ext uri="{28A0092B-C50C-407E-A947-70E740481C1C}">
                <a14:useLocalDpi xmlns:a14="http://schemas.microsoft.com/office/drawing/2010/main"/>
              </a:ext>
            </a:extLst>
          </a:blip>
          <a:stretch>
            <a:fillRect/>
          </a:stretch>
        </p:blipFill>
        <p:spPr>
          <a:xfrm>
            <a:off x="5897395" y="3836286"/>
            <a:ext cx="404813" cy="404813"/>
          </a:xfrm>
          <a:prstGeom prst="rect">
            <a:avLst/>
          </a:prstGeom>
        </p:spPr>
      </p:pic>
      <p:sp>
        <p:nvSpPr>
          <p:cNvPr id="341" name="Rechteck 340">
            <a:extLst>
              <a:ext uri="{FF2B5EF4-FFF2-40B4-BE49-F238E27FC236}">
                <a16:creationId xmlns:a16="http://schemas.microsoft.com/office/drawing/2014/main" id="{945645C0-79E4-BF7F-2595-92F9C249DA25}"/>
              </a:ext>
            </a:extLst>
          </p:cNvPr>
          <p:cNvSpPr/>
          <p:nvPr/>
        </p:nvSpPr>
        <p:spPr>
          <a:xfrm>
            <a:off x="6956373" y="3462240"/>
            <a:ext cx="1711325" cy="615553"/>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flexible gas power pla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i="0" u="none" baseline="0">
                <a:latin typeface="Arial"/>
                <a:ea typeface="MS PGothic"/>
              </a:rPr>
              <a:t>Supply</a:t>
            </a:r>
            <a:br>
              <a:rPr lang="en-gb" sz="1500" b="1">
                <a:latin typeface="Arial"/>
                <a:ea typeface="MS PGothic"/>
              </a:rPr>
            </a:br>
            <a:r>
              <a:rPr lang="en-gb" sz="1500" b="1" i="0" u="none" baseline="0">
                <a:latin typeface="Arial"/>
                <a:ea typeface="MS PGothic"/>
              </a:rPr>
              <a:t>security</a:t>
            </a:r>
            <a:endParaRPr lang="en-gb" sz="1500" b="1" dirty="0">
              <a:latin typeface="Arial"/>
              <a:ea typeface="MS PGothic"/>
            </a:endParaRPr>
          </a:p>
        </p:txBody>
      </p:sp>
      <p:sp>
        <p:nvSpPr>
          <p:cNvPr id="354" name="Freihandform: Form 353">
            <a:extLst>
              <a:ext uri="{FF2B5EF4-FFF2-40B4-BE49-F238E27FC236}">
                <a16:creationId xmlns:a16="http://schemas.microsoft.com/office/drawing/2014/main" id="{9AC8FC5C-DBE4-2351-ED55-ADD57CF13E40}"/>
              </a:ext>
            </a:extLst>
          </p:cNvPr>
          <p:cNvSpPr/>
          <p:nvPr/>
        </p:nvSpPr>
        <p:spPr bwMode="auto">
          <a:xfrm>
            <a:off x="11011608" y="4712356"/>
            <a:ext cx="449792" cy="446955"/>
          </a:xfrm>
          <a:custGeom>
            <a:avLst/>
            <a:gdLst>
              <a:gd name="connsiteX0" fmla="*/ 222647 w 445294"/>
              <a:gd name="connsiteY0" fmla="*/ 21900 h 442486"/>
              <a:gd name="connsiteX1" fmla="*/ 21900 w 445294"/>
              <a:gd name="connsiteY1" fmla="*/ 222647 h 442486"/>
              <a:gd name="connsiteX2" fmla="*/ 80698 w 445294"/>
              <a:gd name="connsiteY2" fmla="*/ 364597 h 442486"/>
              <a:gd name="connsiteX3" fmla="*/ 107824 w 445294"/>
              <a:gd name="connsiteY3" fmla="*/ 382886 h 442486"/>
              <a:gd name="connsiteX4" fmla="*/ 91249 w 445294"/>
              <a:gd name="connsiteY4" fmla="*/ 358414 h 442486"/>
              <a:gd name="connsiteX5" fmla="*/ 79915 w 445294"/>
              <a:gd name="connsiteY5" fmla="*/ 302890 h 442486"/>
              <a:gd name="connsiteX6" fmla="*/ 79915 w 445294"/>
              <a:gd name="connsiteY6" fmla="*/ 302282 h 442486"/>
              <a:gd name="connsiteX7" fmla="*/ 79915 w 445294"/>
              <a:gd name="connsiteY7" fmla="*/ 302142 h 442486"/>
              <a:gd name="connsiteX8" fmla="*/ 134718 w 445294"/>
              <a:gd name="connsiteY8" fmla="*/ 180093 h 442486"/>
              <a:gd name="connsiteX9" fmla="*/ 143707 w 445294"/>
              <a:gd name="connsiteY9" fmla="*/ 181930 h 442486"/>
              <a:gd name="connsiteX10" fmla="*/ 144259 w 445294"/>
              <a:gd name="connsiteY10" fmla="*/ 188057 h 442486"/>
              <a:gd name="connsiteX11" fmla="*/ 147686 w 445294"/>
              <a:gd name="connsiteY11" fmla="*/ 247656 h 442486"/>
              <a:gd name="connsiteX12" fmla="*/ 217552 w 445294"/>
              <a:gd name="connsiteY12" fmla="*/ 84135 h 442486"/>
              <a:gd name="connsiteX13" fmla="*/ 223704 w 445294"/>
              <a:gd name="connsiteY13" fmla="*/ 81791 h 442486"/>
              <a:gd name="connsiteX14" fmla="*/ 228741 w 445294"/>
              <a:gd name="connsiteY14" fmla="*/ 86029 h 442486"/>
              <a:gd name="connsiteX15" fmla="*/ 310871 w 445294"/>
              <a:gd name="connsiteY15" fmla="*/ 199797 h 442486"/>
              <a:gd name="connsiteX16" fmla="*/ 365330 w 445294"/>
              <a:gd name="connsiteY16" fmla="*/ 302282 h 442486"/>
              <a:gd name="connsiteX17" fmla="*/ 354234 w 445294"/>
              <a:gd name="connsiteY17" fmla="*/ 357853 h 442486"/>
              <a:gd name="connsiteX18" fmla="*/ 337403 w 445294"/>
              <a:gd name="connsiteY18" fmla="*/ 382932 h 442486"/>
              <a:gd name="connsiteX19" fmla="*/ 364597 w 445294"/>
              <a:gd name="connsiteY19" fmla="*/ 364597 h 442486"/>
              <a:gd name="connsiteX20" fmla="*/ 423394 w 445294"/>
              <a:gd name="connsiteY20" fmla="*/ 222647 h 442486"/>
              <a:gd name="connsiteX21" fmla="*/ 222647 w 445294"/>
              <a:gd name="connsiteY21" fmla="*/ 21900 h 442486"/>
              <a:gd name="connsiteX22" fmla="*/ 222647 w 445294"/>
              <a:gd name="connsiteY22" fmla="*/ 0 h 442486"/>
              <a:gd name="connsiteX23" fmla="*/ 445294 w 445294"/>
              <a:gd name="connsiteY23" fmla="*/ 222647 h 442486"/>
              <a:gd name="connsiteX24" fmla="*/ 267519 w 445294"/>
              <a:gd name="connsiteY24" fmla="*/ 440771 h 442486"/>
              <a:gd name="connsiteX25" fmla="*/ 250512 w 445294"/>
              <a:gd name="connsiteY25" fmla="*/ 442486 h 442486"/>
              <a:gd name="connsiteX26" fmla="*/ 252030 w 445294"/>
              <a:gd name="connsiteY26" fmla="*/ 439504 h 442486"/>
              <a:gd name="connsiteX27" fmla="*/ 263146 w 445294"/>
              <a:gd name="connsiteY27" fmla="*/ 415428 h 442486"/>
              <a:gd name="connsiteX28" fmla="*/ 263907 w 445294"/>
              <a:gd name="connsiteY28" fmla="*/ 414914 h 442486"/>
              <a:gd name="connsiteX29" fmla="*/ 281026 w 445294"/>
              <a:gd name="connsiteY29" fmla="*/ 373648 h 442486"/>
              <a:gd name="connsiteX30" fmla="*/ 227467 w 445294"/>
              <a:gd name="connsiteY30" fmla="*/ 265512 h 442486"/>
              <a:gd name="connsiteX31" fmla="*/ 217990 w 445294"/>
              <a:gd name="connsiteY31" fmla="*/ 265334 h 442486"/>
              <a:gd name="connsiteX32" fmla="*/ 217813 w 445294"/>
              <a:gd name="connsiteY32" fmla="*/ 265512 h 442486"/>
              <a:gd name="connsiteX33" fmla="*/ 164253 w 445294"/>
              <a:gd name="connsiteY33" fmla="*/ 373648 h 442486"/>
              <a:gd name="connsiteX34" fmla="*/ 168859 w 445294"/>
              <a:gd name="connsiteY34" fmla="*/ 396363 h 442486"/>
              <a:gd name="connsiteX35" fmla="*/ 174075 w 445294"/>
              <a:gd name="connsiteY35" fmla="*/ 404096 h 442486"/>
              <a:gd name="connsiteX36" fmla="*/ 189788 w 445294"/>
              <a:gd name="connsiteY36" fmla="*/ 439533 h 442486"/>
              <a:gd name="connsiteX37" fmla="*/ 191318 w 445294"/>
              <a:gd name="connsiteY37" fmla="*/ 442136 h 442486"/>
              <a:gd name="connsiteX38" fmla="*/ 177776 w 445294"/>
              <a:gd name="connsiteY38" fmla="*/ 440771 h 442486"/>
              <a:gd name="connsiteX39" fmla="*/ 0 w 445294"/>
              <a:gd name="connsiteY39" fmla="*/ 222647 h 442486"/>
              <a:gd name="connsiteX40" fmla="*/ 222647 w 445294"/>
              <a:gd name="connsiteY40" fmla="*/ 0 h 44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45294" h="442486">
                <a:moveTo>
                  <a:pt x="222647" y="21900"/>
                </a:moveTo>
                <a:cubicBezTo>
                  <a:pt x="111777" y="21900"/>
                  <a:pt x="21900" y="111777"/>
                  <a:pt x="21900" y="222647"/>
                </a:cubicBezTo>
                <a:cubicBezTo>
                  <a:pt x="21900" y="278082"/>
                  <a:pt x="44370" y="328269"/>
                  <a:pt x="80698" y="364597"/>
                </a:cubicBezTo>
                <a:lnTo>
                  <a:pt x="107824" y="382886"/>
                </a:lnTo>
                <a:lnTo>
                  <a:pt x="91249" y="358414"/>
                </a:lnTo>
                <a:cubicBezTo>
                  <a:pt x="83991" y="341356"/>
                  <a:pt x="79957" y="322594"/>
                  <a:pt x="79915" y="302890"/>
                </a:cubicBezTo>
                <a:cubicBezTo>
                  <a:pt x="79915" y="302687"/>
                  <a:pt x="79915" y="302484"/>
                  <a:pt x="79915" y="302282"/>
                </a:cubicBezTo>
                <a:lnTo>
                  <a:pt x="79915" y="302142"/>
                </a:lnTo>
                <a:cubicBezTo>
                  <a:pt x="81760" y="216092"/>
                  <a:pt x="132558" y="181525"/>
                  <a:pt x="134718" y="180093"/>
                </a:cubicBezTo>
                <a:cubicBezTo>
                  <a:pt x="137707" y="178118"/>
                  <a:pt x="141732" y="178940"/>
                  <a:pt x="143707" y="181930"/>
                </a:cubicBezTo>
                <a:cubicBezTo>
                  <a:pt x="144909" y="183749"/>
                  <a:pt x="145117" y="186052"/>
                  <a:pt x="144259" y="188057"/>
                </a:cubicBezTo>
                <a:cubicBezTo>
                  <a:pt x="135561" y="207284"/>
                  <a:pt x="136841" y="229553"/>
                  <a:pt x="147686" y="247656"/>
                </a:cubicBezTo>
                <a:cubicBezTo>
                  <a:pt x="168865" y="145907"/>
                  <a:pt x="215487" y="86720"/>
                  <a:pt x="217552" y="84135"/>
                </a:cubicBezTo>
                <a:cubicBezTo>
                  <a:pt x="219040" y="82315"/>
                  <a:pt x="221383" y="81422"/>
                  <a:pt x="223704" y="81791"/>
                </a:cubicBezTo>
                <a:cubicBezTo>
                  <a:pt x="226028" y="82186"/>
                  <a:pt x="227955" y="83808"/>
                  <a:pt x="228741" y="86029"/>
                </a:cubicBezTo>
                <a:cubicBezTo>
                  <a:pt x="228988" y="86733"/>
                  <a:pt x="254171" y="156747"/>
                  <a:pt x="310871" y="199797"/>
                </a:cubicBezTo>
                <a:cubicBezTo>
                  <a:pt x="368041" y="243209"/>
                  <a:pt x="365456" y="300248"/>
                  <a:pt x="365330" y="302282"/>
                </a:cubicBezTo>
                <a:cubicBezTo>
                  <a:pt x="365372" y="321985"/>
                  <a:pt x="361419" y="340765"/>
                  <a:pt x="354234" y="357853"/>
                </a:cubicBezTo>
                <a:lnTo>
                  <a:pt x="337403" y="382932"/>
                </a:lnTo>
                <a:lnTo>
                  <a:pt x="364597" y="364597"/>
                </a:lnTo>
                <a:cubicBezTo>
                  <a:pt x="400925" y="328269"/>
                  <a:pt x="423394" y="278082"/>
                  <a:pt x="423394" y="222647"/>
                </a:cubicBezTo>
                <a:cubicBezTo>
                  <a:pt x="423394" y="111777"/>
                  <a:pt x="333517" y="21900"/>
                  <a:pt x="222647" y="21900"/>
                </a:cubicBezTo>
                <a:close/>
                <a:moveTo>
                  <a:pt x="222647" y="0"/>
                </a:moveTo>
                <a:cubicBezTo>
                  <a:pt x="345612" y="0"/>
                  <a:pt x="445294" y="99682"/>
                  <a:pt x="445294" y="222647"/>
                </a:cubicBezTo>
                <a:cubicBezTo>
                  <a:pt x="445294" y="330241"/>
                  <a:pt x="368975" y="420010"/>
                  <a:pt x="267519" y="440771"/>
                </a:cubicBezTo>
                <a:lnTo>
                  <a:pt x="250512" y="442486"/>
                </a:lnTo>
                <a:lnTo>
                  <a:pt x="252030" y="439504"/>
                </a:lnTo>
                <a:lnTo>
                  <a:pt x="263146" y="415428"/>
                </a:lnTo>
                <a:lnTo>
                  <a:pt x="263907" y="414914"/>
                </a:lnTo>
                <a:cubicBezTo>
                  <a:pt x="274470" y="404351"/>
                  <a:pt x="281009" y="389763"/>
                  <a:pt x="281026" y="373648"/>
                </a:cubicBezTo>
                <a:cubicBezTo>
                  <a:pt x="281026" y="325751"/>
                  <a:pt x="229653" y="267952"/>
                  <a:pt x="227467" y="265512"/>
                </a:cubicBezTo>
                <a:cubicBezTo>
                  <a:pt x="224899" y="262846"/>
                  <a:pt x="220657" y="262767"/>
                  <a:pt x="217990" y="265334"/>
                </a:cubicBezTo>
                <a:cubicBezTo>
                  <a:pt x="217930" y="265393"/>
                  <a:pt x="217871" y="265452"/>
                  <a:pt x="217813" y="265512"/>
                </a:cubicBezTo>
                <a:cubicBezTo>
                  <a:pt x="215626" y="267949"/>
                  <a:pt x="164253" y="325748"/>
                  <a:pt x="164253" y="373648"/>
                </a:cubicBezTo>
                <a:cubicBezTo>
                  <a:pt x="164262" y="381706"/>
                  <a:pt x="165902" y="389381"/>
                  <a:pt x="168859" y="396363"/>
                </a:cubicBezTo>
                <a:lnTo>
                  <a:pt x="174075" y="404096"/>
                </a:lnTo>
                <a:lnTo>
                  <a:pt x="189788" y="439533"/>
                </a:lnTo>
                <a:lnTo>
                  <a:pt x="191318" y="442136"/>
                </a:lnTo>
                <a:lnTo>
                  <a:pt x="177776" y="440771"/>
                </a:lnTo>
                <a:cubicBezTo>
                  <a:pt x="76319" y="420010"/>
                  <a:pt x="0" y="330242"/>
                  <a:pt x="0" y="222647"/>
                </a:cubicBezTo>
                <a:cubicBezTo>
                  <a:pt x="0" y="99682"/>
                  <a:pt x="99682" y="0"/>
                  <a:pt x="222647" y="0"/>
                </a:cubicBezTo>
                <a:close/>
              </a:path>
            </a:pathLst>
          </a:custGeom>
          <a:solidFill>
            <a:schemeClr val="tx2"/>
          </a:solidFill>
          <a:ln w="9525" cap="flat" cmpd="sng" algn="ctr">
            <a:no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b="0" i="0" u="none" strike="noStrike" cap="none" normalizeH="0" baseline="0" dirty="0" err="1">
              <a:ln>
                <a:noFill/>
              </a:ln>
              <a:solidFill>
                <a:schemeClr val="tx1"/>
              </a:solidFill>
              <a:effectLst/>
              <a:latin typeface="Arial" charset="0"/>
              <a:ea typeface="MS PGothic" pitchFamily="34" charset="-128"/>
            </a:endParaRPr>
          </a:p>
        </p:txBody>
      </p:sp>
      <p:sp>
        <p:nvSpPr>
          <p:cNvPr id="355" name="Rechteck 354">
            <a:extLst>
              <a:ext uri="{FF2B5EF4-FFF2-40B4-BE49-F238E27FC236}">
                <a16:creationId xmlns:a16="http://schemas.microsoft.com/office/drawing/2014/main" id="{D5F917C7-049C-41DA-7109-08AADA987AF1}"/>
              </a:ext>
            </a:extLst>
          </p:cNvPr>
          <p:cNvSpPr/>
          <p:nvPr/>
        </p:nvSpPr>
        <p:spPr>
          <a:xfrm>
            <a:off x="2000469" y="4575638"/>
            <a:ext cx="1349728" cy="861774"/>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i="0" u="none" baseline="0">
                <a:latin typeface="Arial"/>
                <a:ea typeface="MS PGothic"/>
              </a:rPr>
              <a:t>Market leader</a:t>
            </a:r>
            <a:r>
              <a:rPr kumimoji="0" lang="en-gb" sz="1000" b="0" i="0" u="none" strike="noStrike" kern="1200" cap="none" spc="0" normalizeH="0" baseline="0">
                <a:ln>
                  <a:noFill/>
                </a:ln>
                <a:effectLst/>
                <a:uLnTx/>
                <a:uFillTx/>
                <a:latin typeface="Arial"/>
                <a:ea typeface="MS PGothic"/>
                <a:cs typeface="+mn-cs"/>
              </a:rPr>
              <a:t> </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in flexibility and</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green electricity sales </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in Austria </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and Germany</a:t>
            </a:r>
          </a:p>
        </p:txBody>
      </p:sp>
      <p:sp>
        <p:nvSpPr>
          <p:cNvPr id="356" name="Textfeld 355">
            <a:extLst>
              <a:ext uri="{FF2B5EF4-FFF2-40B4-BE49-F238E27FC236}">
                <a16:creationId xmlns:a16="http://schemas.microsoft.com/office/drawing/2014/main" id="{CF6EEE94-9FB5-DF0C-463C-3A0093FE4DFE}"/>
              </a:ext>
            </a:extLst>
          </p:cNvPr>
          <p:cNvSpPr txBox="1"/>
          <p:nvPr/>
        </p:nvSpPr>
        <p:spPr>
          <a:xfrm>
            <a:off x="466971" y="5202196"/>
            <a:ext cx="992259" cy="692497"/>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One of the large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hydropower</a:t>
            </a:r>
            <a:endParaRPr kumimoji="0" lang="en-gb" sz="1000" b="0" i="0" u="none" strike="noStrike" kern="1200" cap="none" spc="0" normalizeH="0" baseline="0" noProof="0" dirty="0">
              <a:ln>
                <a:noFill/>
              </a:ln>
              <a:effectLst/>
              <a:uLnTx/>
              <a:uFillTx/>
              <a:latin typeface="Arial"/>
              <a:ea typeface="MS PGothic"/>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generators in</a:t>
            </a:r>
            <a:endParaRPr kumimoji="0" lang="en-gb" sz="1000" b="1" i="0" u="none" strike="noStrike" kern="1200" cap="none" spc="0" normalizeH="0" baseline="0" noProof="0" dirty="0">
              <a:ln>
                <a:noFill/>
              </a:ln>
              <a:solidFill>
                <a:srgbClr val="FF0000"/>
              </a:solidFill>
              <a:effectLst/>
              <a:uLnTx/>
              <a:uFillTx/>
              <a:latin typeface="Arial"/>
              <a:ea typeface="MS PGothic"/>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i="0" u="none" baseline="0">
                <a:latin typeface="Arial"/>
                <a:ea typeface="MS PGothic"/>
              </a:rPr>
              <a:t>Bavaria</a:t>
            </a:r>
          </a:p>
        </p:txBody>
      </p:sp>
      <p:grpSp>
        <p:nvGrpSpPr>
          <p:cNvPr id="357" name="Grafik 10">
            <a:extLst>
              <a:ext uri="{FF2B5EF4-FFF2-40B4-BE49-F238E27FC236}">
                <a16:creationId xmlns:a16="http://schemas.microsoft.com/office/drawing/2014/main" id="{94E084BB-8EF7-94F3-EE09-F62BE0C9E8B1}"/>
              </a:ext>
            </a:extLst>
          </p:cNvPr>
          <p:cNvGrpSpPr/>
          <p:nvPr/>
        </p:nvGrpSpPr>
        <p:grpSpPr>
          <a:xfrm>
            <a:off x="704337" y="4763467"/>
            <a:ext cx="517525" cy="395844"/>
            <a:chOff x="3757488" y="3762441"/>
            <a:chExt cx="1432407" cy="1091898"/>
          </a:xfrm>
        </p:grpSpPr>
        <p:sp>
          <p:nvSpPr>
            <p:cNvPr id="358" name="Freihandform: Form 357">
              <a:extLst>
                <a:ext uri="{FF2B5EF4-FFF2-40B4-BE49-F238E27FC236}">
                  <a16:creationId xmlns:a16="http://schemas.microsoft.com/office/drawing/2014/main" id="{AF101E4C-305D-DBFE-9CED-7B689C2DFD82}"/>
                </a:ext>
              </a:extLst>
            </p:cNvPr>
            <p:cNvSpPr/>
            <p:nvPr/>
          </p:nvSpPr>
          <p:spPr>
            <a:xfrm>
              <a:off x="4140955" y="3914641"/>
              <a:ext cx="18554" cy="5057"/>
            </a:xfrm>
            <a:custGeom>
              <a:avLst/>
              <a:gdLst>
                <a:gd name="connsiteX0" fmla="*/ 0 w 18554"/>
                <a:gd name="connsiteY0" fmla="*/ 1848 h 5057"/>
                <a:gd name="connsiteX1" fmla="*/ 18555 w 18554"/>
                <a:gd name="connsiteY1" fmla="*/ 5058 h 5057"/>
                <a:gd name="connsiteX2" fmla="*/ 16231 w 18554"/>
                <a:gd name="connsiteY2" fmla="*/ 0 h 5057"/>
                <a:gd name="connsiteX3" fmla="*/ 0 w 18554"/>
                <a:gd name="connsiteY3" fmla="*/ 1848 h 5057"/>
              </a:gdLst>
              <a:ahLst/>
              <a:cxnLst>
                <a:cxn ang="0">
                  <a:pos x="connsiteX0" y="connsiteY0"/>
                </a:cxn>
                <a:cxn ang="0">
                  <a:pos x="connsiteX1" y="connsiteY1"/>
                </a:cxn>
                <a:cxn ang="0">
                  <a:pos x="connsiteX2" y="connsiteY2"/>
                </a:cxn>
                <a:cxn ang="0">
                  <a:pos x="connsiteX3" y="connsiteY3"/>
                </a:cxn>
              </a:cxnLst>
              <a:rect l="l" t="t" r="r" b="b"/>
              <a:pathLst>
                <a:path w="18554" h="5057">
                  <a:moveTo>
                    <a:pt x="0" y="1848"/>
                  </a:moveTo>
                  <a:cubicBezTo>
                    <a:pt x="7420" y="3210"/>
                    <a:pt x="11135" y="3858"/>
                    <a:pt x="18555" y="5058"/>
                  </a:cubicBezTo>
                  <a:cubicBezTo>
                    <a:pt x="17621" y="3038"/>
                    <a:pt x="17164" y="2029"/>
                    <a:pt x="16231" y="0"/>
                  </a:cubicBezTo>
                  <a:cubicBezTo>
                    <a:pt x="9744" y="800"/>
                    <a:pt x="6496" y="1153"/>
                    <a:pt x="0" y="1848"/>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59" name="Freihandform: Form 358">
              <a:extLst>
                <a:ext uri="{FF2B5EF4-FFF2-40B4-BE49-F238E27FC236}">
                  <a16:creationId xmlns:a16="http://schemas.microsoft.com/office/drawing/2014/main" id="{457ABF86-B566-DF34-76FF-ADFE2871E82A}"/>
                </a:ext>
              </a:extLst>
            </p:cNvPr>
            <p:cNvSpPr/>
            <p:nvPr/>
          </p:nvSpPr>
          <p:spPr>
            <a:xfrm>
              <a:off x="3760327" y="4332293"/>
              <a:ext cx="4457" cy="12877"/>
            </a:xfrm>
            <a:custGeom>
              <a:avLst/>
              <a:gdLst>
                <a:gd name="connsiteX0" fmla="*/ 0 w 4457"/>
                <a:gd name="connsiteY0" fmla="*/ 8982 h 12877"/>
                <a:gd name="connsiteX1" fmla="*/ 4458 w 4457"/>
                <a:gd name="connsiteY1" fmla="*/ 12878 h 12877"/>
                <a:gd name="connsiteX2" fmla="*/ 10 w 4457"/>
                <a:gd name="connsiteY2" fmla="*/ 0 h 12877"/>
                <a:gd name="connsiteX3" fmla="*/ 0 w 4457"/>
                <a:gd name="connsiteY3" fmla="*/ 8982 h 12877"/>
              </a:gdLst>
              <a:ahLst/>
              <a:cxnLst>
                <a:cxn ang="0">
                  <a:pos x="connsiteX0" y="connsiteY0"/>
                </a:cxn>
                <a:cxn ang="0">
                  <a:pos x="connsiteX1" y="connsiteY1"/>
                </a:cxn>
                <a:cxn ang="0">
                  <a:pos x="connsiteX2" y="connsiteY2"/>
                </a:cxn>
                <a:cxn ang="0">
                  <a:pos x="connsiteX3" y="connsiteY3"/>
                </a:cxn>
              </a:cxnLst>
              <a:rect l="l" t="t" r="r" b="b"/>
              <a:pathLst>
                <a:path w="4457" h="12877">
                  <a:moveTo>
                    <a:pt x="0" y="8982"/>
                  </a:moveTo>
                  <a:cubicBezTo>
                    <a:pt x="1781" y="10544"/>
                    <a:pt x="2677" y="11334"/>
                    <a:pt x="4458" y="12878"/>
                  </a:cubicBezTo>
                  <a:cubicBezTo>
                    <a:pt x="2677" y="7734"/>
                    <a:pt x="1791" y="5162"/>
                    <a:pt x="10" y="0"/>
                  </a:cubicBezTo>
                  <a:cubicBezTo>
                    <a:pt x="10" y="3600"/>
                    <a:pt x="0" y="5391"/>
                    <a:pt x="0" y="8982"/>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0" name="Freihandform: Form 359">
              <a:extLst>
                <a:ext uri="{FF2B5EF4-FFF2-40B4-BE49-F238E27FC236}">
                  <a16:creationId xmlns:a16="http://schemas.microsoft.com/office/drawing/2014/main" id="{B884C6E5-11A0-AE55-2A32-80F3F9979196}"/>
                </a:ext>
              </a:extLst>
            </p:cNvPr>
            <p:cNvSpPr/>
            <p:nvPr/>
          </p:nvSpPr>
          <p:spPr>
            <a:xfrm>
              <a:off x="3957123" y="4162034"/>
              <a:ext cx="505672" cy="383987"/>
            </a:xfrm>
            <a:custGeom>
              <a:avLst/>
              <a:gdLst>
                <a:gd name="connsiteX0" fmla="*/ 0 w 505672"/>
                <a:gd name="connsiteY0" fmla="*/ 0 h 383987"/>
                <a:gd name="connsiteX1" fmla="*/ 153181 w 505672"/>
                <a:gd name="connsiteY1" fmla="*/ 359245 h 383987"/>
                <a:gd name="connsiteX2" fmla="*/ 505673 w 505672"/>
                <a:gd name="connsiteY2" fmla="*/ 383191 h 383987"/>
                <a:gd name="connsiteX3" fmla="*/ 352520 w 505672"/>
                <a:gd name="connsiteY3" fmla="*/ 73857 h 383987"/>
                <a:gd name="connsiteX4" fmla="*/ 0 w 505672"/>
                <a:gd name="connsiteY4" fmla="*/ 0 h 3839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672" h="383987">
                  <a:moveTo>
                    <a:pt x="0" y="0"/>
                  </a:moveTo>
                  <a:cubicBezTo>
                    <a:pt x="49492" y="120453"/>
                    <a:pt x="99917" y="240401"/>
                    <a:pt x="153181" y="359245"/>
                  </a:cubicBezTo>
                  <a:cubicBezTo>
                    <a:pt x="269034" y="383695"/>
                    <a:pt x="387772" y="385639"/>
                    <a:pt x="505673" y="383191"/>
                  </a:cubicBezTo>
                  <a:cubicBezTo>
                    <a:pt x="454257" y="280254"/>
                    <a:pt x="403012" y="177251"/>
                    <a:pt x="352520" y="73857"/>
                  </a:cubicBezTo>
                  <a:cubicBezTo>
                    <a:pt x="231648" y="70656"/>
                    <a:pt x="110776" y="50092"/>
                    <a:pt x="0" y="0"/>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1" name="Freihandform: Form 360">
              <a:extLst>
                <a:ext uri="{FF2B5EF4-FFF2-40B4-BE49-F238E27FC236}">
                  <a16:creationId xmlns:a16="http://schemas.microsoft.com/office/drawing/2014/main" id="{F5B34379-8228-2C74-78A0-C10763B3221D}"/>
                </a:ext>
              </a:extLst>
            </p:cNvPr>
            <p:cNvSpPr/>
            <p:nvPr/>
          </p:nvSpPr>
          <p:spPr>
            <a:xfrm>
              <a:off x="5181990" y="4744450"/>
              <a:ext cx="5038" cy="14544"/>
            </a:xfrm>
            <a:custGeom>
              <a:avLst/>
              <a:gdLst>
                <a:gd name="connsiteX0" fmla="*/ 5039 w 5038"/>
                <a:gd name="connsiteY0" fmla="*/ 4419 h 14544"/>
                <a:gd name="connsiteX1" fmla="*/ 0 w 5038"/>
                <a:gd name="connsiteY1" fmla="*/ 0 h 14544"/>
                <a:gd name="connsiteX2" fmla="*/ 5039 w 5038"/>
                <a:gd name="connsiteY2" fmla="*/ 14544 h 14544"/>
                <a:gd name="connsiteX3" fmla="*/ 5039 w 5038"/>
                <a:gd name="connsiteY3" fmla="*/ 4419 h 14544"/>
              </a:gdLst>
              <a:ahLst/>
              <a:cxnLst>
                <a:cxn ang="0">
                  <a:pos x="connsiteX0" y="connsiteY0"/>
                </a:cxn>
                <a:cxn ang="0">
                  <a:pos x="connsiteX1" y="connsiteY1"/>
                </a:cxn>
                <a:cxn ang="0">
                  <a:pos x="connsiteX2" y="connsiteY2"/>
                </a:cxn>
                <a:cxn ang="0">
                  <a:pos x="connsiteX3" y="connsiteY3"/>
                </a:cxn>
              </a:cxnLst>
              <a:rect l="l" t="t" r="r" b="b"/>
              <a:pathLst>
                <a:path w="5038" h="14544">
                  <a:moveTo>
                    <a:pt x="5039" y="4419"/>
                  </a:moveTo>
                  <a:cubicBezTo>
                    <a:pt x="3020" y="2638"/>
                    <a:pt x="2019" y="1753"/>
                    <a:pt x="0" y="0"/>
                  </a:cubicBezTo>
                  <a:cubicBezTo>
                    <a:pt x="2019" y="5801"/>
                    <a:pt x="3020" y="8715"/>
                    <a:pt x="5039" y="14544"/>
                  </a:cubicBezTo>
                  <a:cubicBezTo>
                    <a:pt x="5039" y="10496"/>
                    <a:pt x="5039" y="8477"/>
                    <a:pt x="5039" y="4419"/>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2" name="Freihandform: Form 361">
              <a:extLst>
                <a:ext uri="{FF2B5EF4-FFF2-40B4-BE49-F238E27FC236}">
                  <a16:creationId xmlns:a16="http://schemas.microsoft.com/office/drawing/2014/main" id="{2731D1B5-A9D9-0979-CB2A-30C7CDA8B03A}"/>
                </a:ext>
              </a:extLst>
            </p:cNvPr>
            <p:cNvSpPr/>
            <p:nvPr/>
          </p:nvSpPr>
          <p:spPr>
            <a:xfrm>
              <a:off x="4470882" y="3762441"/>
              <a:ext cx="407812" cy="205835"/>
            </a:xfrm>
            <a:custGeom>
              <a:avLst/>
              <a:gdLst>
                <a:gd name="connsiteX0" fmla="*/ 315525 w 407812"/>
                <a:gd name="connsiteY0" fmla="*/ 0 h 205835"/>
                <a:gd name="connsiteX1" fmla="*/ 0 w 407812"/>
                <a:gd name="connsiteY1" fmla="*/ 76695 h 205835"/>
                <a:gd name="connsiteX2" fmla="*/ 47177 w 407812"/>
                <a:gd name="connsiteY2" fmla="*/ 171250 h 205835"/>
                <a:gd name="connsiteX3" fmla="*/ 407813 w 407812"/>
                <a:gd name="connsiteY3" fmla="*/ 205835 h 205835"/>
                <a:gd name="connsiteX4" fmla="*/ 315525 w 407812"/>
                <a:gd name="connsiteY4" fmla="*/ 0 h 20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812" h="205835">
                  <a:moveTo>
                    <a:pt x="315525" y="0"/>
                  </a:moveTo>
                  <a:cubicBezTo>
                    <a:pt x="207416" y="19631"/>
                    <a:pt x="105423" y="45796"/>
                    <a:pt x="0" y="76695"/>
                  </a:cubicBezTo>
                  <a:cubicBezTo>
                    <a:pt x="18869" y="114500"/>
                    <a:pt x="28308" y="133379"/>
                    <a:pt x="47177" y="171250"/>
                  </a:cubicBezTo>
                  <a:cubicBezTo>
                    <a:pt x="168240" y="169078"/>
                    <a:pt x="290246" y="174479"/>
                    <a:pt x="407813" y="205835"/>
                  </a:cubicBezTo>
                  <a:cubicBezTo>
                    <a:pt x="370894" y="121263"/>
                    <a:pt x="352444" y="80286"/>
                    <a:pt x="315525" y="0"/>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3" name="Freihandform: Form 362">
              <a:extLst>
                <a:ext uri="{FF2B5EF4-FFF2-40B4-BE49-F238E27FC236}">
                  <a16:creationId xmlns:a16="http://schemas.microsoft.com/office/drawing/2014/main" id="{64112BB3-B4AF-571D-F94B-0B7EE987CE03}"/>
                </a:ext>
              </a:extLst>
            </p:cNvPr>
            <p:cNvSpPr/>
            <p:nvPr/>
          </p:nvSpPr>
          <p:spPr>
            <a:xfrm>
              <a:off x="3764784" y="4345181"/>
              <a:ext cx="495804" cy="499938"/>
            </a:xfrm>
            <a:custGeom>
              <a:avLst/>
              <a:gdLst>
                <a:gd name="connsiteX0" fmla="*/ 150038 w 495804"/>
                <a:gd name="connsiteY0" fmla="*/ 407736 h 499938"/>
                <a:gd name="connsiteX1" fmla="*/ 493947 w 495804"/>
                <a:gd name="connsiteY1" fmla="*/ 499939 h 499938"/>
                <a:gd name="connsiteX2" fmla="*/ 495805 w 495804"/>
                <a:gd name="connsiteY2" fmla="*/ 499510 h 499938"/>
                <a:gd name="connsiteX3" fmla="*/ 345520 w 495804"/>
                <a:gd name="connsiteY3" fmla="*/ 176098 h 499938"/>
                <a:gd name="connsiteX4" fmla="*/ 0 w 495804"/>
                <a:gd name="connsiteY4" fmla="*/ 0 h 499938"/>
                <a:gd name="connsiteX5" fmla="*/ 150038 w 495804"/>
                <a:gd name="connsiteY5" fmla="*/ 407736 h 49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804" h="499938">
                  <a:moveTo>
                    <a:pt x="150038" y="407736"/>
                  </a:moveTo>
                  <a:cubicBezTo>
                    <a:pt x="256213" y="464439"/>
                    <a:pt x="374342" y="492566"/>
                    <a:pt x="493947" y="499939"/>
                  </a:cubicBezTo>
                  <a:cubicBezTo>
                    <a:pt x="494690" y="499767"/>
                    <a:pt x="495062" y="499681"/>
                    <a:pt x="495805" y="499510"/>
                  </a:cubicBezTo>
                  <a:cubicBezTo>
                    <a:pt x="444341" y="392344"/>
                    <a:pt x="394078" y="284607"/>
                    <a:pt x="345520" y="176098"/>
                  </a:cubicBezTo>
                  <a:cubicBezTo>
                    <a:pt x="211074" y="146990"/>
                    <a:pt x="107985" y="81972"/>
                    <a:pt x="0" y="0"/>
                  </a:cubicBezTo>
                  <a:cubicBezTo>
                    <a:pt x="48101" y="136693"/>
                    <a:pt x="97993" y="272491"/>
                    <a:pt x="150038" y="407736"/>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4" name="Freihandform: Form 363">
              <a:extLst>
                <a:ext uri="{FF2B5EF4-FFF2-40B4-BE49-F238E27FC236}">
                  <a16:creationId xmlns:a16="http://schemas.microsoft.com/office/drawing/2014/main" id="{07E1FA8F-BBC0-29A3-4F1B-10D726ED5F56}"/>
                </a:ext>
              </a:extLst>
            </p:cNvPr>
            <p:cNvSpPr/>
            <p:nvPr/>
          </p:nvSpPr>
          <p:spPr>
            <a:xfrm>
              <a:off x="4518059" y="3933261"/>
              <a:ext cx="510787" cy="396794"/>
            </a:xfrm>
            <a:custGeom>
              <a:avLst/>
              <a:gdLst>
                <a:gd name="connsiteX0" fmla="*/ 0 w 510787"/>
                <a:gd name="connsiteY0" fmla="*/ 421 h 396794"/>
                <a:gd name="connsiteX1" fmla="*/ 150143 w 510787"/>
                <a:gd name="connsiteY1" fmla="*/ 305345 h 396794"/>
                <a:gd name="connsiteX2" fmla="*/ 510788 w 510787"/>
                <a:gd name="connsiteY2" fmla="*/ 396794 h 396794"/>
                <a:gd name="connsiteX3" fmla="*/ 360636 w 510787"/>
                <a:gd name="connsiteY3" fmla="*/ 35016 h 396794"/>
                <a:gd name="connsiteX4" fmla="*/ 0 w 510787"/>
                <a:gd name="connsiteY4" fmla="*/ 421 h 396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0787" h="396794">
                  <a:moveTo>
                    <a:pt x="0" y="421"/>
                  </a:moveTo>
                  <a:cubicBezTo>
                    <a:pt x="50568" y="101815"/>
                    <a:pt x="100774" y="203370"/>
                    <a:pt x="150143" y="305345"/>
                  </a:cubicBezTo>
                  <a:cubicBezTo>
                    <a:pt x="275301" y="311050"/>
                    <a:pt x="399317" y="338158"/>
                    <a:pt x="510788" y="396794"/>
                  </a:cubicBezTo>
                  <a:cubicBezTo>
                    <a:pt x="462344" y="275503"/>
                    <a:pt x="412918" y="154716"/>
                    <a:pt x="360636" y="35016"/>
                  </a:cubicBezTo>
                  <a:cubicBezTo>
                    <a:pt x="243059" y="3650"/>
                    <a:pt x="121063" y="-1741"/>
                    <a:pt x="0" y="421"/>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5" name="Freihandform: Form 364">
              <a:extLst>
                <a:ext uri="{FF2B5EF4-FFF2-40B4-BE49-F238E27FC236}">
                  <a16:creationId xmlns:a16="http://schemas.microsoft.com/office/drawing/2014/main" id="{2B7F21E1-721A-D118-FB33-A462F1976DA4}"/>
                </a:ext>
              </a:extLst>
            </p:cNvPr>
            <p:cNvSpPr/>
            <p:nvPr/>
          </p:nvSpPr>
          <p:spPr>
            <a:xfrm>
              <a:off x="4878695" y="3968276"/>
              <a:ext cx="308333" cy="472049"/>
            </a:xfrm>
            <a:custGeom>
              <a:avLst/>
              <a:gdLst>
                <a:gd name="connsiteX0" fmla="*/ 308334 w 308333"/>
                <a:gd name="connsiteY0" fmla="*/ 169669 h 472049"/>
                <a:gd name="connsiteX1" fmla="*/ 0 w 308333"/>
                <a:gd name="connsiteY1" fmla="*/ 0 h 472049"/>
                <a:gd name="connsiteX2" fmla="*/ 150152 w 308333"/>
                <a:gd name="connsiteY2" fmla="*/ 361779 h 472049"/>
                <a:gd name="connsiteX3" fmla="*/ 308334 w 308333"/>
                <a:gd name="connsiteY3" fmla="*/ 472049 h 472049"/>
                <a:gd name="connsiteX4" fmla="*/ 308334 w 308333"/>
                <a:gd name="connsiteY4" fmla="*/ 169669 h 47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333" h="472049">
                  <a:moveTo>
                    <a:pt x="308334" y="169669"/>
                  </a:moveTo>
                  <a:cubicBezTo>
                    <a:pt x="219685" y="90859"/>
                    <a:pt x="114538" y="31432"/>
                    <a:pt x="0" y="0"/>
                  </a:cubicBezTo>
                  <a:cubicBezTo>
                    <a:pt x="52273" y="119701"/>
                    <a:pt x="101708" y="240487"/>
                    <a:pt x="150152" y="361779"/>
                  </a:cubicBezTo>
                  <a:cubicBezTo>
                    <a:pt x="213436" y="395221"/>
                    <a:pt x="245059" y="416347"/>
                    <a:pt x="308334" y="472049"/>
                  </a:cubicBezTo>
                  <a:cubicBezTo>
                    <a:pt x="308334" y="371256"/>
                    <a:pt x="308334" y="270462"/>
                    <a:pt x="308334" y="169669"/>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6" name="Freihandform: Form 365">
              <a:extLst>
                <a:ext uri="{FF2B5EF4-FFF2-40B4-BE49-F238E27FC236}">
                  <a16:creationId xmlns:a16="http://schemas.microsoft.com/office/drawing/2014/main" id="{6798836C-D667-E420-D867-996073C5273A}"/>
                </a:ext>
              </a:extLst>
            </p:cNvPr>
            <p:cNvSpPr/>
            <p:nvPr/>
          </p:nvSpPr>
          <p:spPr>
            <a:xfrm>
              <a:off x="4668202" y="4238596"/>
              <a:ext cx="513787" cy="505853"/>
            </a:xfrm>
            <a:custGeom>
              <a:avLst/>
              <a:gdLst>
                <a:gd name="connsiteX0" fmla="*/ 153162 w 513787"/>
                <a:gd name="connsiteY0" fmla="*/ 327003 h 505853"/>
                <a:gd name="connsiteX1" fmla="*/ 513788 w 513787"/>
                <a:gd name="connsiteY1" fmla="*/ 505854 h 505853"/>
                <a:gd name="connsiteX2" fmla="*/ 360645 w 513787"/>
                <a:gd name="connsiteY2" fmla="*/ 91449 h 505853"/>
                <a:gd name="connsiteX3" fmla="*/ 0 w 513787"/>
                <a:gd name="connsiteY3" fmla="*/ 0 h 505853"/>
                <a:gd name="connsiteX4" fmla="*/ 153162 w 513787"/>
                <a:gd name="connsiteY4" fmla="*/ 327003 h 505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787" h="505853">
                  <a:moveTo>
                    <a:pt x="153162" y="327003"/>
                  </a:moveTo>
                  <a:cubicBezTo>
                    <a:pt x="293884" y="354530"/>
                    <a:pt x="401003" y="420938"/>
                    <a:pt x="513788" y="505854"/>
                  </a:cubicBezTo>
                  <a:cubicBezTo>
                    <a:pt x="464734" y="366893"/>
                    <a:pt x="413804" y="228886"/>
                    <a:pt x="360645" y="91449"/>
                  </a:cubicBezTo>
                  <a:cubicBezTo>
                    <a:pt x="249174" y="32823"/>
                    <a:pt x="125149" y="5705"/>
                    <a:pt x="0" y="0"/>
                  </a:cubicBezTo>
                  <a:cubicBezTo>
                    <a:pt x="52359" y="108395"/>
                    <a:pt x="103575" y="217322"/>
                    <a:pt x="153162" y="327003"/>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7" name="Freihandform: Form 366">
              <a:extLst>
                <a:ext uri="{FF2B5EF4-FFF2-40B4-BE49-F238E27FC236}">
                  <a16:creationId xmlns:a16="http://schemas.microsoft.com/office/drawing/2014/main" id="{D358CF7B-0DEC-0015-C9A7-0877B52B329B}"/>
                </a:ext>
              </a:extLst>
            </p:cNvPr>
            <p:cNvSpPr/>
            <p:nvPr/>
          </p:nvSpPr>
          <p:spPr>
            <a:xfrm>
              <a:off x="5091522" y="3790930"/>
              <a:ext cx="95507" cy="266281"/>
            </a:xfrm>
            <a:custGeom>
              <a:avLst/>
              <a:gdLst>
                <a:gd name="connsiteX0" fmla="*/ 95507 w 95507"/>
                <a:gd name="connsiteY0" fmla="*/ 266281 h 266281"/>
                <a:gd name="connsiteX1" fmla="*/ 95507 w 95507"/>
                <a:gd name="connsiteY1" fmla="*/ 45653 h 266281"/>
                <a:gd name="connsiteX2" fmla="*/ 0 w 95507"/>
                <a:gd name="connsiteY2" fmla="*/ 0 h 266281"/>
                <a:gd name="connsiteX3" fmla="*/ 95507 w 95507"/>
                <a:gd name="connsiteY3" fmla="*/ 266281 h 266281"/>
              </a:gdLst>
              <a:ahLst/>
              <a:cxnLst>
                <a:cxn ang="0">
                  <a:pos x="connsiteX0" y="connsiteY0"/>
                </a:cxn>
                <a:cxn ang="0">
                  <a:pos x="connsiteX1" y="connsiteY1"/>
                </a:cxn>
                <a:cxn ang="0">
                  <a:pos x="connsiteX2" y="connsiteY2"/>
                </a:cxn>
                <a:cxn ang="0">
                  <a:pos x="connsiteX3" y="connsiteY3"/>
                </a:cxn>
              </a:cxnLst>
              <a:rect l="l" t="t" r="r" b="b"/>
              <a:pathLst>
                <a:path w="95507" h="266281">
                  <a:moveTo>
                    <a:pt x="95507" y="266281"/>
                  </a:moveTo>
                  <a:cubicBezTo>
                    <a:pt x="95507" y="178032"/>
                    <a:pt x="95507" y="133903"/>
                    <a:pt x="95507" y="45653"/>
                  </a:cubicBezTo>
                  <a:cubicBezTo>
                    <a:pt x="57302" y="23031"/>
                    <a:pt x="38195" y="14107"/>
                    <a:pt x="0" y="0"/>
                  </a:cubicBezTo>
                  <a:cubicBezTo>
                    <a:pt x="32966" y="88345"/>
                    <a:pt x="64789" y="177127"/>
                    <a:pt x="95507" y="266281"/>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8" name="Freihandform: Form 367">
              <a:extLst>
                <a:ext uri="{FF2B5EF4-FFF2-40B4-BE49-F238E27FC236}">
                  <a16:creationId xmlns:a16="http://schemas.microsoft.com/office/drawing/2014/main" id="{A3A459F1-D996-7F41-57DA-139468576C8B}"/>
                </a:ext>
              </a:extLst>
            </p:cNvPr>
            <p:cNvSpPr/>
            <p:nvPr/>
          </p:nvSpPr>
          <p:spPr>
            <a:xfrm>
              <a:off x="4159510" y="3919689"/>
              <a:ext cx="508682" cy="318906"/>
            </a:xfrm>
            <a:custGeom>
              <a:avLst/>
              <a:gdLst>
                <a:gd name="connsiteX0" fmla="*/ 358550 w 508682"/>
                <a:gd name="connsiteY0" fmla="*/ 13992 h 318906"/>
                <a:gd name="connsiteX1" fmla="*/ 0 w 508682"/>
                <a:gd name="connsiteY1" fmla="*/ 0 h 318906"/>
                <a:gd name="connsiteX2" fmla="*/ 150133 w 508682"/>
                <a:gd name="connsiteY2" fmla="*/ 316192 h 318906"/>
                <a:gd name="connsiteX3" fmla="*/ 508683 w 508682"/>
                <a:gd name="connsiteY3" fmla="*/ 318907 h 318906"/>
                <a:gd name="connsiteX4" fmla="*/ 358550 w 508682"/>
                <a:gd name="connsiteY4" fmla="*/ 13992 h 318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682" h="318906">
                  <a:moveTo>
                    <a:pt x="358550" y="13992"/>
                  </a:moveTo>
                  <a:cubicBezTo>
                    <a:pt x="238916" y="16231"/>
                    <a:pt x="118663" y="18021"/>
                    <a:pt x="0" y="0"/>
                  </a:cubicBezTo>
                  <a:cubicBezTo>
                    <a:pt x="48749" y="106013"/>
                    <a:pt x="98936" y="211350"/>
                    <a:pt x="150133" y="316192"/>
                  </a:cubicBezTo>
                  <a:cubicBezTo>
                    <a:pt x="269681" y="319249"/>
                    <a:pt x="389172" y="313544"/>
                    <a:pt x="508683" y="318907"/>
                  </a:cubicBezTo>
                  <a:cubicBezTo>
                    <a:pt x="459324" y="216941"/>
                    <a:pt x="409118" y="115386"/>
                    <a:pt x="358550" y="13992"/>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69" name="Freihandform: Form 368">
              <a:extLst>
                <a:ext uri="{FF2B5EF4-FFF2-40B4-BE49-F238E27FC236}">
                  <a16:creationId xmlns:a16="http://schemas.microsoft.com/office/drawing/2014/main" id="{DAC19093-F23D-00C7-17D6-E039DB32B28C}"/>
                </a:ext>
              </a:extLst>
            </p:cNvPr>
            <p:cNvSpPr/>
            <p:nvPr/>
          </p:nvSpPr>
          <p:spPr>
            <a:xfrm>
              <a:off x="4309652" y="4235891"/>
              <a:ext cx="511721" cy="329717"/>
            </a:xfrm>
            <a:custGeom>
              <a:avLst/>
              <a:gdLst>
                <a:gd name="connsiteX0" fmla="*/ 0 w 511721"/>
                <a:gd name="connsiteY0" fmla="*/ 0 h 329717"/>
                <a:gd name="connsiteX1" fmla="*/ 153153 w 511721"/>
                <a:gd name="connsiteY1" fmla="*/ 309334 h 329717"/>
                <a:gd name="connsiteX2" fmla="*/ 511721 w 511721"/>
                <a:gd name="connsiteY2" fmla="*/ 329717 h 329717"/>
                <a:gd name="connsiteX3" fmla="*/ 358559 w 511721"/>
                <a:gd name="connsiteY3" fmla="*/ 2724 h 329717"/>
                <a:gd name="connsiteX4" fmla="*/ 0 w 511721"/>
                <a:gd name="connsiteY4" fmla="*/ 0 h 3297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721" h="329717">
                  <a:moveTo>
                    <a:pt x="0" y="0"/>
                  </a:moveTo>
                  <a:cubicBezTo>
                    <a:pt x="50482" y="103384"/>
                    <a:pt x="101737" y="206397"/>
                    <a:pt x="153153" y="309334"/>
                  </a:cubicBezTo>
                  <a:cubicBezTo>
                    <a:pt x="272948" y="306753"/>
                    <a:pt x="393563" y="307134"/>
                    <a:pt x="511721" y="329717"/>
                  </a:cubicBezTo>
                  <a:cubicBezTo>
                    <a:pt x="462134" y="220027"/>
                    <a:pt x="410918" y="111109"/>
                    <a:pt x="358559" y="2724"/>
                  </a:cubicBezTo>
                  <a:cubicBezTo>
                    <a:pt x="239039" y="-2648"/>
                    <a:pt x="119539" y="3057"/>
                    <a:pt x="0" y="0"/>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70" name="Freihandform: Form 369">
              <a:extLst>
                <a:ext uri="{FF2B5EF4-FFF2-40B4-BE49-F238E27FC236}">
                  <a16:creationId xmlns:a16="http://schemas.microsoft.com/office/drawing/2014/main" id="{78A1EE4A-B18C-0CD7-52C0-EDD127313413}"/>
                </a:ext>
              </a:extLst>
            </p:cNvPr>
            <p:cNvSpPr/>
            <p:nvPr/>
          </p:nvSpPr>
          <p:spPr>
            <a:xfrm>
              <a:off x="4462795" y="4544134"/>
              <a:ext cx="422967" cy="214269"/>
            </a:xfrm>
            <a:custGeom>
              <a:avLst/>
              <a:gdLst>
                <a:gd name="connsiteX0" fmla="*/ 106223 w 422967"/>
                <a:gd name="connsiteY0" fmla="*/ 214270 h 214269"/>
                <a:gd name="connsiteX1" fmla="*/ 422967 w 422967"/>
                <a:gd name="connsiteY1" fmla="*/ 167959 h 214269"/>
                <a:gd name="connsiteX2" fmla="*/ 358569 w 422967"/>
                <a:gd name="connsiteY2" fmla="*/ 21465 h 214269"/>
                <a:gd name="connsiteX3" fmla="*/ 0 w 422967"/>
                <a:gd name="connsiteY3" fmla="*/ 1081 h 214269"/>
                <a:gd name="connsiteX4" fmla="*/ 106223 w 422967"/>
                <a:gd name="connsiteY4" fmla="*/ 214270 h 214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967" h="214269">
                  <a:moveTo>
                    <a:pt x="106223" y="214270"/>
                  </a:moveTo>
                  <a:cubicBezTo>
                    <a:pt x="213055" y="186666"/>
                    <a:pt x="312944" y="176512"/>
                    <a:pt x="422967" y="167959"/>
                  </a:cubicBezTo>
                  <a:cubicBezTo>
                    <a:pt x="398440" y="111619"/>
                    <a:pt x="383096" y="75805"/>
                    <a:pt x="358569" y="21465"/>
                  </a:cubicBezTo>
                  <a:cubicBezTo>
                    <a:pt x="240421" y="-1119"/>
                    <a:pt x="119805" y="-1500"/>
                    <a:pt x="0" y="1081"/>
                  </a:cubicBezTo>
                  <a:cubicBezTo>
                    <a:pt x="42491" y="86177"/>
                    <a:pt x="63732" y="128507"/>
                    <a:pt x="106223" y="214270"/>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71" name="Freihandform: Form 370">
              <a:extLst>
                <a:ext uri="{FF2B5EF4-FFF2-40B4-BE49-F238E27FC236}">
                  <a16:creationId xmlns:a16="http://schemas.microsoft.com/office/drawing/2014/main" id="{A313ED15-2B05-C95C-E3C2-D22890A50E4D}"/>
                </a:ext>
              </a:extLst>
            </p:cNvPr>
            <p:cNvSpPr/>
            <p:nvPr/>
          </p:nvSpPr>
          <p:spPr>
            <a:xfrm>
              <a:off x="3760336" y="3839984"/>
              <a:ext cx="196795" cy="322040"/>
            </a:xfrm>
            <a:custGeom>
              <a:avLst/>
              <a:gdLst>
                <a:gd name="connsiteX0" fmla="*/ 0 w 196795"/>
                <a:gd name="connsiteY0" fmla="*/ 0 h 322040"/>
                <a:gd name="connsiteX1" fmla="*/ 0 w 196795"/>
                <a:gd name="connsiteY1" fmla="*/ 192767 h 322040"/>
                <a:gd name="connsiteX2" fmla="*/ 196796 w 196795"/>
                <a:gd name="connsiteY2" fmla="*/ 322040 h 322040"/>
                <a:gd name="connsiteX3" fmla="*/ 88449 w 196795"/>
                <a:gd name="connsiteY3" fmla="*/ 43005 h 322040"/>
                <a:gd name="connsiteX4" fmla="*/ 0 w 196795"/>
                <a:gd name="connsiteY4" fmla="*/ 0 h 322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795" h="322040">
                  <a:moveTo>
                    <a:pt x="0" y="0"/>
                  </a:moveTo>
                  <a:cubicBezTo>
                    <a:pt x="0" y="77114"/>
                    <a:pt x="0" y="115662"/>
                    <a:pt x="0" y="192767"/>
                  </a:cubicBezTo>
                  <a:cubicBezTo>
                    <a:pt x="78714" y="262061"/>
                    <a:pt x="118072" y="286140"/>
                    <a:pt x="196796" y="322040"/>
                  </a:cubicBezTo>
                  <a:cubicBezTo>
                    <a:pt x="159334" y="229524"/>
                    <a:pt x="123730" y="136369"/>
                    <a:pt x="88449" y="43005"/>
                  </a:cubicBezTo>
                  <a:cubicBezTo>
                    <a:pt x="53064" y="29403"/>
                    <a:pt x="35376" y="20955"/>
                    <a:pt x="0" y="0"/>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72" name="Freihandform: Form 371">
              <a:extLst>
                <a:ext uri="{FF2B5EF4-FFF2-40B4-BE49-F238E27FC236}">
                  <a16:creationId xmlns:a16="http://schemas.microsoft.com/office/drawing/2014/main" id="{5C2DC1FC-0857-38FD-E18B-6320A59F5760}"/>
                </a:ext>
              </a:extLst>
            </p:cNvPr>
            <p:cNvSpPr/>
            <p:nvPr/>
          </p:nvSpPr>
          <p:spPr>
            <a:xfrm>
              <a:off x="3760327" y="4644628"/>
              <a:ext cx="190385" cy="201091"/>
            </a:xfrm>
            <a:custGeom>
              <a:avLst/>
              <a:gdLst>
                <a:gd name="connsiteX0" fmla="*/ 0 w 190385"/>
                <a:gd name="connsiteY0" fmla="*/ 143561 h 201091"/>
                <a:gd name="connsiteX1" fmla="*/ 190386 w 190385"/>
                <a:gd name="connsiteY1" fmla="*/ 201092 h 201091"/>
                <a:gd name="connsiteX2" fmla="*/ 154496 w 190385"/>
                <a:gd name="connsiteY2" fmla="*/ 108290 h 201091"/>
                <a:gd name="connsiteX3" fmla="*/ 10 w 190385"/>
                <a:gd name="connsiteY3" fmla="*/ 0 h 201091"/>
                <a:gd name="connsiteX4" fmla="*/ 0 w 190385"/>
                <a:gd name="connsiteY4" fmla="*/ 143561 h 201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385" h="201091">
                  <a:moveTo>
                    <a:pt x="0" y="143561"/>
                  </a:moveTo>
                  <a:cubicBezTo>
                    <a:pt x="83239" y="179661"/>
                    <a:pt x="111100" y="185738"/>
                    <a:pt x="190386" y="201092"/>
                  </a:cubicBezTo>
                  <a:cubicBezTo>
                    <a:pt x="173231" y="158601"/>
                    <a:pt x="171650" y="152162"/>
                    <a:pt x="154496" y="108290"/>
                  </a:cubicBezTo>
                  <a:cubicBezTo>
                    <a:pt x="92707" y="75171"/>
                    <a:pt x="61808" y="54397"/>
                    <a:pt x="10" y="0"/>
                  </a:cubicBezTo>
                  <a:cubicBezTo>
                    <a:pt x="10" y="57426"/>
                    <a:pt x="0" y="86135"/>
                    <a:pt x="0" y="143561"/>
                  </a:cubicBez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sp>
          <p:nvSpPr>
            <p:cNvPr id="373" name="Freihandform: Form 372">
              <a:extLst>
                <a:ext uri="{FF2B5EF4-FFF2-40B4-BE49-F238E27FC236}">
                  <a16:creationId xmlns:a16="http://schemas.microsoft.com/office/drawing/2014/main" id="{680903AB-8AE1-020C-8391-3754811FF2FE}"/>
                </a:ext>
              </a:extLst>
            </p:cNvPr>
            <p:cNvSpPr/>
            <p:nvPr/>
          </p:nvSpPr>
          <p:spPr>
            <a:xfrm>
              <a:off x="3757488" y="3770433"/>
              <a:ext cx="1432407" cy="1083905"/>
            </a:xfrm>
            <a:custGeom>
              <a:avLst/>
              <a:gdLst>
                <a:gd name="connsiteX0" fmla="*/ 0 w 1432407"/>
                <a:gd name="connsiteY0" fmla="*/ 65017 h 1083905"/>
                <a:gd name="connsiteX1" fmla="*/ 0 w 1432407"/>
                <a:gd name="connsiteY1" fmla="*/ 1018907 h 1083905"/>
                <a:gd name="connsiteX2" fmla="*/ 1432398 w 1432407"/>
                <a:gd name="connsiteY2" fmla="*/ 1018907 h 1083905"/>
                <a:gd name="connsiteX3" fmla="*/ 1432408 w 1432407"/>
                <a:gd name="connsiteY3" fmla="*/ 1017479 h 1083905"/>
                <a:gd name="connsiteX4" fmla="*/ 1432398 w 1432407"/>
                <a:gd name="connsiteY4" fmla="*/ 65026 h 1083905"/>
                <a:gd name="connsiteX5" fmla="*/ 0 w 1432407"/>
                <a:gd name="connsiteY5" fmla="*/ 65017 h 1083905"/>
                <a:gd name="connsiteX6" fmla="*/ 1429541 w 1432407"/>
                <a:gd name="connsiteY6" fmla="*/ 286778 h 1083905"/>
                <a:gd name="connsiteX7" fmla="*/ 1337377 w 1432407"/>
                <a:gd name="connsiteY7" fmla="*/ 29479 h 1083905"/>
                <a:gd name="connsiteX8" fmla="*/ 1429541 w 1432407"/>
                <a:gd name="connsiteY8" fmla="*/ 66150 h 1083905"/>
                <a:gd name="connsiteX9" fmla="*/ 1429541 w 1432407"/>
                <a:gd name="connsiteY9" fmla="*/ 286778 h 1083905"/>
                <a:gd name="connsiteX10" fmla="*/ 1424502 w 1432407"/>
                <a:gd name="connsiteY10" fmla="*/ 974016 h 1083905"/>
                <a:gd name="connsiteX11" fmla="*/ 1429541 w 1432407"/>
                <a:gd name="connsiteY11" fmla="*/ 978436 h 1083905"/>
                <a:gd name="connsiteX12" fmla="*/ 1429541 w 1432407"/>
                <a:gd name="connsiteY12" fmla="*/ 988561 h 1083905"/>
                <a:gd name="connsiteX13" fmla="*/ 1424502 w 1432407"/>
                <a:gd name="connsiteY13" fmla="*/ 974016 h 1083905"/>
                <a:gd name="connsiteX14" fmla="*/ 1063876 w 1432407"/>
                <a:gd name="connsiteY14" fmla="*/ 795165 h 1083905"/>
                <a:gd name="connsiteX15" fmla="*/ 1128275 w 1432407"/>
                <a:gd name="connsiteY15" fmla="*/ 939869 h 1083905"/>
                <a:gd name="connsiteX16" fmla="*/ 811530 w 1432407"/>
                <a:gd name="connsiteY16" fmla="*/ 987970 h 1083905"/>
                <a:gd name="connsiteX17" fmla="*/ 705317 w 1432407"/>
                <a:gd name="connsiteY17" fmla="*/ 774782 h 1083905"/>
                <a:gd name="connsiteX18" fmla="*/ 352825 w 1432407"/>
                <a:gd name="connsiteY18" fmla="*/ 750836 h 1083905"/>
                <a:gd name="connsiteX19" fmla="*/ 499301 w 1432407"/>
                <a:gd name="connsiteY19" fmla="*/ 1065285 h 1083905"/>
                <a:gd name="connsiteX20" fmla="*/ 462867 w 1432407"/>
                <a:gd name="connsiteY20" fmla="*/ 1071362 h 1083905"/>
                <a:gd name="connsiteX21" fmla="*/ 157344 w 1432407"/>
                <a:gd name="connsiteY21" fmla="*/ 982484 h 1083905"/>
                <a:gd name="connsiteX22" fmla="*/ 193948 w 1432407"/>
                <a:gd name="connsiteY22" fmla="*/ 1074924 h 1083905"/>
                <a:gd name="connsiteX23" fmla="*/ 2848 w 1432407"/>
                <a:gd name="connsiteY23" fmla="*/ 1017755 h 1083905"/>
                <a:gd name="connsiteX24" fmla="*/ 2857 w 1432407"/>
                <a:gd name="connsiteY24" fmla="*/ 874194 h 1083905"/>
                <a:gd name="connsiteX25" fmla="*/ 157344 w 1432407"/>
                <a:gd name="connsiteY25" fmla="*/ 982484 h 1083905"/>
                <a:gd name="connsiteX26" fmla="*/ 7306 w 1432407"/>
                <a:gd name="connsiteY26" fmla="*/ 574738 h 1083905"/>
                <a:gd name="connsiteX27" fmla="*/ 2848 w 1432407"/>
                <a:gd name="connsiteY27" fmla="*/ 570842 h 1083905"/>
                <a:gd name="connsiteX28" fmla="*/ 2857 w 1432407"/>
                <a:gd name="connsiteY28" fmla="*/ 561869 h 1083905"/>
                <a:gd name="connsiteX29" fmla="*/ 7306 w 1432407"/>
                <a:gd name="connsiteY29" fmla="*/ 574747 h 1083905"/>
                <a:gd name="connsiteX30" fmla="*/ 352825 w 1432407"/>
                <a:gd name="connsiteY30" fmla="*/ 750845 h 1083905"/>
                <a:gd name="connsiteX31" fmla="*/ 199644 w 1432407"/>
                <a:gd name="connsiteY31" fmla="*/ 391601 h 1083905"/>
                <a:gd name="connsiteX32" fmla="*/ 2848 w 1432407"/>
                <a:gd name="connsiteY32" fmla="*/ 262327 h 1083905"/>
                <a:gd name="connsiteX33" fmla="*/ 2848 w 1432407"/>
                <a:gd name="connsiteY33" fmla="*/ 69560 h 1083905"/>
                <a:gd name="connsiteX34" fmla="*/ 91297 w 1432407"/>
                <a:gd name="connsiteY34" fmla="*/ 112575 h 1083905"/>
                <a:gd name="connsiteX35" fmla="*/ 199644 w 1432407"/>
                <a:gd name="connsiteY35" fmla="*/ 391610 h 1083905"/>
                <a:gd name="connsiteX36" fmla="*/ 552164 w 1432407"/>
                <a:gd name="connsiteY36" fmla="*/ 465467 h 1083905"/>
                <a:gd name="connsiteX37" fmla="*/ 402031 w 1432407"/>
                <a:gd name="connsiteY37" fmla="*/ 149275 h 1083905"/>
                <a:gd name="connsiteX38" fmla="*/ 383477 w 1432407"/>
                <a:gd name="connsiteY38" fmla="*/ 146065 h 1083905"/>
                <a:gd name="connsiteX39" fmla="*/ 399707 w 1432407"/>
                <a:gd name="connsiteY39" fmla="*/ 144217 h 1083905"/>
                <a:gd name="connsiteX40" fmla="*/ 402031 w 1432407"/>
                <a:gd name="connsiteY40" fmla="*/ 149275 h 1083905"/>
                <a:gd name="connsiteX41" fmla="*/ 760581 w 1432407"/>
                <a:gd name="connsiteY41" fmla="*/ 163267 h 1083905"/>
                <a:gd name="connsiteX42" fmla="*/ 712280 w 1432407"/>
                <a:gd name="connsiteY42" fmla="*/ 66970 h 1083905"/>
                <a:gd name="connsiteX43" fmla="*/ 1034644 w 1432407"/>
                <a:gd name="connsiteY43" fmla="*/ 4609 h 1083905"/>
                <a:gd name="connsiteX44" fmla="*/ 1034682 w 1432407"/>
                <a:gd name="connsiteY44" fmla="*/ 4514 h 1083905"/>
                <a:gd name="connsiteX45" fmla="*/ 1121226 w 1432407"/>
                <a:gd name="connsiteY45" fmla="*/ 197853 h 1083905"/>
                <a:gd name="connsiteX46" fmla="*/ 1429560 w 1432407"/>
                <a:gd name="connsiteY46" fmla="*/ 367521 h 1083905"/>
                <a:gd name="connsiteX47" fmla="*/ 1429560 w 1432407"/>
                <a:gd name="connsiteY47" fmla="*/ 669902 h 1083905"/>
                <a:gd name="connsiteX48" fmla="*/ 1271378 w 1432407"/>
                <a:gd name="connsiteY48" fmla="*/ 559631 h 1083905"/>
                <a:gd name="connsiteX49" fmla="*/ 1424502 w 1432407"/>
                <a:gd name="connsiteY49" fmla="*/ 974016 h 108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432407" h="1083905">
                  <a:moveTo>
                    <a:pt x="0" y="65017"/>
                  </a:moveTo>
                  <a:cubicBezTo>
                    <a:pt x="10" y="382980"/>
                    <a:pt x="0" y="700944"/>
                    <a:pt x="0" y="1018907"/>
                  </a:cubicBezTo>
                  <a:cubicBezTo>
                    <a:pt x="490919" y="1244079"/>
                    <a:pt x="941499" y="793708"/>
                    <a:pt x="1432398" y="1018907"/>
                  </a:cubicBezTo>
                  <a:cubicBezTo>
                    <a:pt x="1432398" y="1018336"/>
                    <a:pt x="1432408" y="1018041"/>
                    <a:pt x="1432408" y="1017479"/>
                  </a:cubicBezTo>
                  <a:cubicBezTo>
                    <a:pt x="1432379" y="699991"/>
                    <a:pt x="1432398" y="382514"/>
                    <a:pt x="1432398" y="65026"/>
                  </a:cubicBezTo>
                  <a:cubicBezTo>
                    <a:pt x="941508" y="-160221"/>
                    <a:pt x="490890" y="290245"/>
                    <a:pt x="0" y="65017"/>
                  </a:cubicBezTo>
                  <a:close/>
                  <a:moveTo>
                    <a:pt x="1429541" y="286778"/>
                  </a:moveTo>
                  <a:cubicBezTo>
                    <a:pt x="1399861" y="200643"/>
                    <a:pt x="1369152" y="114871"/>
                    <a:pt x="1337377" y="29479"/>
                  </a:cubicBezTo>
                  <a:cubicBezTo>
                    <a:pt x="1342701" y="30927"/>
                    <a:pt x="1383621" y="44176"/>
                    <a:pt x="1429541" y="66150"/>
                  </a:cubicBezTo>
                  <a:cubicBezTo>
                    <a:pt x="1429541" y="154399"/>
                    <a:pt x="1429541" y="198529"/>
                    <a:pt x="1429541" y="286778"/>
                  </a:cubicBezTo>
                  <a:close/>
                  <a:moveTo>
                    <a:pt x="1424502" y="974016"/>
                  </a:moveTo>
                  <a:cubicBezTo>
                    <a:pt x="1426521" y="975769"/>
                    <a:pt x="1427521" y="976655"/>
                    <a:pt x="1429541" y="978436"/>
                  </a:cubicBezTo>
                  <a:cubicBezTo>
                    <a:pt x="1429541" y="982493"/>
                    <a:pt x="1429541" y="984513"/>
                    <a:pt x="1429541" y="988561"/>
                  </a:cubicBezTo>
                  <a:cubicBezTo>
                    <a:pt x="1427521" y="982741"/>
                    <a:pt x="1426521" y="979826"/>
                    <a:pt x="1424502" y="974016"/>
                  </a:cubicBezTo>
                  <a:cubicBezTo>
                    <a:pt x="1311707" y="889101"/>
                    <a:pt x="1204598" y="822683"/>
                    <a:pt x="1063876" y="795165"/>
                  </a:cubicBezTo>
                  <a:cubicBezTo>
                    <a:pt x="1088403" y="849505"/>
                    <a:pt x="1103748" y="883529"/>
                    <a:pt x="1128275" y="939869"/>
                  </a:cubicBezTo>
                  <a:cubicBezTo>
                    <a:pt x="1018251" y="948423"/>
                    <a:pt x="918363" y="960357"/>
                    <a:pt x="811530" y="987970"/>
                  </a:cubicBezTo>
                  <a:cubicBezTo>
                    <a:pt x="769048" y="902207"/>
                    <a:pt x="747798" y="859878"/>
                    <a:pt x="705317" y="774782"/>
                  </a:cubicBezTo>
                  <a:cubicBezTo>
                    <a:pt x="587416" y="777239"/>
                    <a:pt x="468678" y="775296"/>
                    <a:pt x="352825" y="750836"/>
                  </a:cubicBezTo>
                  <a:cubicBezTo>
                    <a:pt x="401384" y="859354"/>
                    <a:pt x="447837" y="958119"/>
                    <a:pt x="499301" y="1065285"/>
                  </a:cubicBezTo>
                  <a:cubicBezTo>
                    <a:pt x="498558" y="1065456"/>
                    <a:pt x="463610" y="1071190"/>
                    <a:pt x="462867" y="1071362"/>
                  </a:cubicBezTo>
                  <a:cubicBezTo>
                    <a:pt x="364645" y="1061351"/>
                    <a:pt x="263519" y="1039186"/>
                    <a:pt x="157344" y="982484"/>
                  </a:cubicBezTo>
                  <a:cubicBezTo>
                    <a:pt x="174498" y="1026356"/>
                    <a:pt x="176794" y="1032433"/>
                    <a:pt x="193948" y="1074924"/>
                  </a:cubicBezTo>
                  <a:cubicBezTo>
                    <a:pt x="126082" y="1060284"/>
                    <a:pt x="71085" y="1046359"/>
                    <a:pt x="2848" y="1017755"/>
                  </a:cubicBezTo>
                  <a:cubicBezTo>
                    <a:pt x="2848" y="960329"/>
                    <a:pt x="2857" y="931620"/>
                    <a:pt x="2857" y="874194"/>
                  </a:cubicBezTo>
                  <a:cubicBezTo>
                    <a:pt x="64656" y="928591"/>
                    <a:pt x="95545" y="949375"/>
                    <a:pt x="157344" y="982484"/>
                  </a:cubicBezTo>
                  <a:cubicBezTo>
                    <a:pt x="105299" y="847239"/>
                    <a:pt x="55407" y="711440"/>
                    <a:pt x="7306" y="574738"/>
                  </a:cubicBezTo>
                  <a:cubicBezTo>
                    <a:pt x="5524" y="573195"/>
                    <a:pt x="4629" y="572404"/>
                    <a:pt x="2848" y="570842"/>
                  </a:cubicBezTo>
                  <a:cubicBezTo>
                    <a:pt x="2848" y="567251"/>
                    <a:pt x="2857" y="565460"/>
                    <a:pt x="2857" y="561869"/>
                  </a:cubicBezTo>
                  <a:cubicBezTo>
                    <a:pt x="4639" y="567032"/>
                    <a:pt x="5524" y="569604"/>
                    <a:pt x="7306" y="574747"/>
                  </a:cubicBezTo>
                  <a:cubicBezTo>
                    <a:pt x="115291" y="656719"/>
                    <a:pt x="218380" y="721747"/>
                    <a:pt x="352825" y="750845"/>
                  </a:cubicBezTo>
                  <a:cubicBezTo>
                    <a:pt x="299561" y="632002"/>
                    <a:pt x="249136" y="512054"/>
                    <a:pt x="199644" y="391601"/>
                  </a:cubicBezTo>
                  <a:cubicBezTo>
                    <a:pt x="120930" y="355691"/>
                    <a:pt x="81572" y="331622"/>
                    <a:pt x="2848" y="262327"/>
                  </a:cubicBezTo>
                  <a:cubicBezTo>
                    <a:pt x="2848" y="185213"/>
                    <a:pt x="2848" y="146665"/>
                    <a:pt x="2848" y="69560"/>
                  </a:cubicBezTo>
                  <a:cubicBezTo>
                    <a:pt x="38224" y="90506"/>
                    <a:pt x="55912" y="98964"/>
                    <a:pt x="91297" y="112575"/>
                  </a:cubicBezTo>
                  <a:cubicBezTo>
                    <a:pt x="126578" y="205939"/>
                    <a:pt x="162182" y="299094"/>
                    <a:pt x="199644" y="391610"/>
                  </a:cubicBezTo>
                  <a:cubicBezTo>
                    <a:pt x="310420" y="441702"/>
                    <a:pt x="431282" y="462266"/>
                    <a:pt x="552164" y="465467"/>
                  </a:cubicBezTo>
                  <a:cubicBezTo>
                    <a:pt x="500967" y="360625"/>
                    <a:pt x="450771" y="255288"/>
                    <a:pt x="402031" y="149275"/>
                  </a:cubicBezTo>
                  <a:cubicBezTo>
                    <a:pt x="394611" y="148075"/>
                    <a:pt x="390897" y="147427"/>
                    <a:pt x="383477" y="146065"/>
                  </a:cubicBezTo>
                  <a:cubicBezTo>
                    <a:pt x="389972" y="145379"/>
                    <a:pt x="393211" y="145027"/>
                    <a:pt x="399707" y="144217"/>
                  </a:cubicBezTo>
                  <a:cubicBezTo>
                    <a:pt x="400641" y="146246"/>
                    <a:pt x="401098" y="147256"/>
                    <a:pt x="402031" y="149275"/>
                  </a:cubicBezTo>
                  <a:cubicBezTo>
                    <a:pt x="520694" y="167296"/>
                    <a:pt x="640947" y="165505"/>
                    <a:pt x="760581" y="163267"/>
                  </a:cubicBezTo>
                  <a:cubicBezTo>
                    <a:pt x="741712" y="125396"/>
                    <a:pt x="731148" y="104765"/>
                    <a:pt x="712280" y="66970"/>
                  </a:cubicBezTo>
                  <a:cubicBezTo>
                    <a:pt x="746217" y="58035"/>
                    <a:pt x="922277" y="18306"/>
                    <a:pt x="1034644" y="4609"/>
                  </a:cubicBezTo>
                  <a:cubicBezTo>
                    <a:pt x="1036606" y="8877"/>
                    <a:pt x="1034682" y="4514"/>
                    <a:pt x="1034682" y="4514"/>
                  </a:cubicBezTo>
                  <a:cubicBezTo>
                    <a:pt x="1034682" y="4514"/>
                    <a:pt x="1086269" y="117795"/>
                    <a:pt x="1121226" y="197853"/>
                  </a:cubicBezTo>
                  <a:cubicBezTo>
                    <a:pt x="1235764" y="229295"/>
                    <a:pt x="1340911" y="288712"/>
                    <a:pt x="1429560" y="367521"/>
                  </a:cubicBezTo>
                  <a:cubicBezTo>
                    <a:pt x="1429560" y="468315"/>
                    <a:pt x="1429560" y="569108"/>
                    <a:pt x="1429560" y="669902"/>
                  </a:cubicBezTo>
                  <a:cubicBezTo>
                    <a:pt x="1366276" y="614200"/>
                    <a:pt x="1334653" y="593073"/>
                    <a:pt x="1271378" y="559631"/>
                  </a:cubicBezTo>
                  <a:cubicBezTo>
                    <a:pt x="1324518" y="697048"/>
                    <a:pt x="1375448" y="835066"/>
                    <a:pt x="1424502" y="974016"/>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75756"/>
                </a:solidFill>
                <a:effectLst/>
                <a:uLnTx/>
                <a:uFillTx/>
                <a:latin typeface="Arial"/>
                <a:ea typeface="MS PGothic"/>
                <a:cs typeface="+mn-cs"/>
              </a:endParaRPr>
            </a:p>
          </p:txBody>
        </p:sp>
      </p:grpSp>
      <p:sp>
        <p:nvSpPr>
          <p:cNvPr id="374" name="Grafik 194">
            <a:extLst>
              <a:ext uri="{FF2B5EF4-FFF2-40B4-BE49-F238E27FC236}">
                <a16:creationId xmlns:a16="http://schemas.microsoft.com/office/drawing/2014/main" id="{9CFF62C9-9EF0-2DCE-222E-CBB8546CBEFD}"/>
              </a:ext>
            </a:extLst>
          </p:cNvPr>
          <p:cNvSpPr>
            <a:spLocks noChangeAspect="1"/>
          </p:cNvSpPr>
          <p:nvPr/>
        </p:nvSpPr>
        <p:spPr>
          <a:xfrm>
            <a:off x="2394230" y="5522977"/>
            <a:ext cx="562206" cy="534924"/>
          </a:xfrm>
          <a:custGeom>
            <a:avLst/>
            <a:gdLst>
              <a:gd name="connsiteX0" fmla="*/ 767048 w 4019930"/>
              <a:gd name="connsiteY0" fmla="*/ 3824859 h 3824858"/>
              <a:gd name="connsiteX1" fmla="*/ 905066 w 4019930"/>
              <a:gd name="connsiteY1" fmla="*/ 3022473 h 3824858"/>
              <a:gd name="connsiteX2" fmla="*/ 1000316 w 4019930"/>
              <a:gd name="connsiteY2" fmla="*/ 2462117 h 3824858"/>
              <a:gd name="connsiteX3" fmla="*/ 984790 w 4019930"/>
              <a:gd name="connsiteY3" fmla="*/ 2422017 h 3824858"/>
              <a:gd name="connsiteX4" fmla="*/ 32290 w 4019930"/>
              <a:gd name="connsiteY4" fmla="*/ 1493901 h 3824858"/>
              <a:gd name="connsiteX5" fmla="*/ 0 w 4019930"/>
              <a:gd name="connsiteY5" fmla="*/ 1459992 h 3824858"/>
              <a:gd name="connsiteX6" fmla="*/ 213265 w 4019930"/>
              <a:gd name="connsiteY6" fmla="*/ 1427512 h 3824858"/>
              <a:gd name="connsiteX7" fmla="*/ 1043369 w 4019930"/>
              <a:gd name="connsiteY7" fmla="*/ 1306259 h 3824858"/>
              <a:gd name="connsiteX8" fmla="*/ 1334357 w 4019930"/>
              <a:gd name="connsiteY8" fmla="*/ 1265873 h 3824858"/>
              <a:gd name="connsiteX9" fmla="*/ 1412843 w 4019930"/>
              <a:gd name="connsiteY9" fmla="*/ 1211961 h 3824858"/>
              <a:gd name="connsiteX10" fmla="*/ 1984343 w 4019930"/>
              <a:gd name="connsiteY10" fmla="*/ 51149 h 3824858"/>
              <a:gd name="connsiteX11" fmla="*/ 2011966 w 4019930"/>
              <a:gd name="connsiteY11" fmla="*/ 0 h 3824858"/>
              <a:gd name="connsiteX12" fmla="*/ 2093500 w 4019930"/>
              <a:gd name="connsiteY12" fmla="*/ 161925 h 3824858"/>
              <a:gd name="connsiteX13" fmla="*/ 2612231 w 4019930"/>
              <a:gd name="connsiteY13" fmla="*/ 1216438 h 3824858"/>
              <a:gd name="connsiteX14" fmla="*/ 2678906 w 4019930"/>
              <a:gd name="connsiteY14" fmla="*/ 1265396 h 3824858"/>
              <a:gd name="connsiteX15" fmla="*/ 3785807 w 4019930"/>
              <a:gd name="connsiteY15" fmla="*/ 1425893 h 3824858"/>
              <a:gd name="connsiteX16" fmla="*/ 4019931 w 4019930"/>
              <a:gd name="connsiteY16" fmla="*/ 1458659 h 3824858"/>
              <a:gd name="connsiteX17" fmla="*/ 3838956 w 4019930"/>
              <a:gd name="connsiteY17" fmla="*/ 1640586 h 3824858"/>
              <a:gd name="connsiteX18" fmla="*/ 3046000 w 4019930"/>
              <a:gd name="connsiteY18" fmla="*/ 2412968 h 3824858"/>
              <a:gd name="connsiteX19" fmla="*/ 3023902 w 4019930"/>
              <a:gd name="connsiteY19" fmla="*/ 2478691 h 3824858"/>
              <a:gd name="connsiteX20" fmla="*/ 3252978 w 4019930"/>
              <a:gd name="connsiteY20" fmla="*/ 3814191 h 3824858"/>
              <a:gd name="connsiteX21" fmla="*/ 3248882 w 4019930"/>
              <a:gd name="connsiteY21" fmla="*/ 3823145 h 3824858"/>
              <a:gd name="connsiteX22" fmla="*/ 3020282 w 4019930"/>
              <a:gd name="connsiteY22" fmla="*/ 3703511 h 3824858"/>
              <a:gd name="connsiteX23" fmla="*/ 2051685 w 4019930"/>
              <a:gd name="connsiteY23" fmla="*/ 3193066 h 3824858"/>
              <a:gd name="connsiteX24" fmla="*/ 1969199 w 4019930"/>
              <a:gd name="connsiteY24" fmla="*/ 3194018 h 3824858"/>
              <a:gd name="connsiteX25" fmla="*/ 803243 w 4019930"/>
              <a:gd name="connsiteY25" fmla="*/ 3807905 h 3824858"/>
              <a:gd name="connsiteX26" fmla="*/ 767048 w 4019930"/>
              <a:gd name="connsiteY26" fmla="*/ 3824859 h 382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19930" h="3824858">
                <a:moveTo>
                  <a:pt x="767048" y="3824859"/>
                </a:moveTo>
                <a:cubicBezTo>
                  <a:pt x="814102" y="3551396"/>
                  <a:pt x="859536" y="3286982"/>
                  <a:pt x="905066" y="3022473"/>
                </a:cubicBezTo>
                <a:cubicBezTo>
                  <a:pt x="937165" y="2835783"/>
                  <a:pt x="969931" y="2649093"/>
                  <a:pt x="1000316" y="2462117"/>
                </a:cubicBezTo>
                <a:cubicBezTo>
                  <a:pt x="1000937" y="2447174"/>
                  <a:pt x="995312" y="2432646"/>
                  <a:pt x="984790" y="2422017"/>
                </a:cubicBezTo>
                <a:cubicBezTo>
                  <a:pt x="667607" y="2112201"/>
                  <a:pt x="350107" y="1802829"/>
                  <a:pt x="32290" y="1493901"/>
                </a:cubicBezTo>
                <a:cubicBezTo>
                  <a:pt x="23336" y="1485138"/>
                  <a:pt x="15050" y="1475804"/>
                  <a:pt x="0" y="1459992"/>
                </a:cubicBezTo>
                <a:cubicBezTo>
                  <a:pt x="75533" y="1448467"/>
                  <a:pt x="144304" y="1437608"/>
                  <a:pt x="213265" y="1427512"/>
                </a:cubicBezTo>
                <a:cubicBezTo>
                  <a:pt x="489998" y="1386935"/>
                  <a:pt x="766699" y="1346518"/>
                  <a:pt x="1043369" y="1306259"/>
                </a:cubicBezTo>
                <a:cubicBezTo>
                  <a:pt x="1140333" y="1292162"/>
                  <a:pt x="1237202" y="1277684"/>
                  <a:pt x="1334357" y="1265873"/>
                </a:cubicBezTo>
                <a:cubicBezTo>
                  <a:pt x="1371695" y="1261301"/>
                  <a:pt x="1395127" y="1248156"/>
                  <a:pt x="1412843" y="1211961"/>
                </a:cubicBezTo>
                <a:cubicBezTo>
                  <a:pt x="1602073" y="824611"/>
                  <a:pt x="1792573" y="437674"/>
                  <a:pt x="1984343" y="51149"/>
                </a:cubicBezTo>
                <a:cubicBezTo>
                  <a:pt x="1991678" y="36100"/>
                  <a:pt x="2000155" y="21622"/>
                  <a:pt x="2011966" y="0"/>
                </a:cubicBezTo>
                <a:cubicBezTo>
                  <a:pt x="2041398" y="58293"/>
                  <a:pt x="2067973" y="109633"/>
                  <a:pt x="2093500" y="161925"/>
                </a:cubicBezTo>
                <a:cubicBezTo>
                  <a:pt x="2266728" y="513207"/>
                  <a:pt x="2439638" y="864711"/>
                  <a:pt x="2612231" y="1216438"/>
                </a:cubicBezTo>
                <a:cubicBezTo>
                  <a:pt x="2623518" y="1243968"/>
                  <a:pt x="2649260" y="1262869"/>
                  <a:pt x="2678906" y="1265396"/>
                </a:cubicBezTo>
                <a:cubicBezTo>
                  <a:pt x="3047905" y="1318419"/>
                  <a:pt x="3416872" y="1371918"/>
                  <a:pt x="3785807" y="1425893"/>
                </a:cubicBezTo>
                <a:cubicBezTo>
                  <a:pt x="3862007" y="1436942"/>
                  <a:pt x="3937730" y="1447229"/>
                  <a:pt x="4019931" y="1458659"/>
                </a:cubicBezTo>
                <a:cubicBezTo>
                  <a:pt x="3956399" y="1522571"/>
                  <a:pt x="3898392" y="1582484"/>
                  <a:pt x="3838956" y="1640586"/>
                </a:cubicBezTo>
                <a:cubicBezTo>
                  <a:pt x="3575050" y="1898460"/>
                  <a:pt x="3310731" y="2155920"/>
                  <a:pt x="3046000" y="2412968"/>
                </a:cubicBezTo>
                <a:cubicBezTo>
                  <a:pt x="3026378" y="2432018"/>
                  <a:pt x="3018663" y="2448782"/>
                  <a:pt x="3023902" y="2478691"/>
                </a:cubicBezTo>
                <a:cubicBezTo>
                  <a:pt x="3101499" y="2923635"/>
                  <a:pt x="3177858" y="3368802"/>
                  <a:pt x="3252978" y="3814191"/>
                </a:cubicBezTo>
                <a:cubicBezTo>
                  <a:pt x="3252978" y="3815429"/>
                  <a:pt x="3251740" y="3816953"/>
                  <a:pt x="3248882" y="3823145"/>
                </a:cubicBezTo>
                <a:cubicBezTo>
                  <a:pt x="3172682" y="3783203"/>
                  <a:pt x="3096482" y="3743325"/>
                  <a:pt x="3020282" y="3703511"/>
                </a:cubicBezTo>
                <a:cubicBezTo>
                  <a:pt x="2697321" y="3533204"/>
                  <a:pt x="2374456" y="3363055"/>
                  <a:pt x="2051685" y="3193066"/>
                </a:cubicBezTo>
                <a:cubicBezTo>
                  <a:pt x="2020824" y="3176683"/>
                  <a:pt x="1998726" y="3178397"/>
                  <a:pt x="1969199" y="3194018"/>
                </a:cubicBezTo>
                <a:cubicBezTo>
                  <a:pt x="1580960" y="3399377"/>
                  <a:pt x="1192308" y="3604006"/>
                  <a:pt x="803243" y="3807905"/>
                </a:cubicBezTo>
                <a:cubicBezTo>
                  <a:pt x="793623" y="3812953"/>
                  <a:pt x="783527" y="3817144"/>
                  <a:pt x="767048" y="3824859"/>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pic>
        <p:nvPicPr>
          <p:cNvPr id="375" name="Grafik 374">
            <a:extLst>
              <a:ext uri="{FF2B5EF4-FFF2-40B4-BE49-F238E27FC236}">
                <a16:creationId xmlns:a16="http://schemas.microsoft.com/office/drawing/2014/main" id="{C60A610E-5151-C7A6-AF90-708CBA1C6776}"/>
              </a:ext>
            </a:extLst>
          </p:cNvPr>
          <p:cNvPicPr>
            <a:picLocks noChangeAspect="1"/>
          </p:cNvPicPr>
          <p:nvPr/>
        </p:nvPicPr>
        <p:blipFill>
          <a:blip r:embed="rId59" cstate="screen">
            <a:extLst>
              <a:ext uri="{28A0092B-C50C-407E-A947-70E740481C1C}">
                <a14:useLocalDpi xmlns:a14="http://schemas.microsoft.com/office/drawing/2010/main"/>
              </a:ext>
            </a:extLst>
          </a:blip>
          <a:stretch>
            <a:fillRect/>
          </a:stretch>
        </p:blipFill>
        <p:spPr>
          <a:xfrm>
            <a:off x="7616773" y="2887587"/>
            <a:ext cx="390525" cy="469462"/>
          </a:xfrm>
          <a:prstGeom prst="rect">
            <a:avLst/>
          </a:prstGeom>
        </p:spPr>
      </p:pic>
      <p:sp>
        <p:nvSpPr>
          <p:cNvPr id="376" name="Textfeld 375">
            <a:extLst>
              <a:ext uri="{FF2B5EF4-FFF2-40B4-BE49-F238E27FC236}">
                <a16:creationId xmlns:a16="http://schemas.microsoft.com/office/drawing/2014/main" id="{664858D5-214A-EC3C-107B-7911FF7EE5FA}"/>
              </a:ext>
            </a:extLst>
          </p:cNvPr>
          <p:cNvSpPr txBox="1"/>
          <p:nvPr/>
        </p:nvSpPr>
        <p:spPr>
          <a:xfrm>
            <a:off x="3621450" y="5364103"/>
            <a:ext cx="1571820" cy="123110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0" i="0" u="none" baseline="0" dirty="0">
                <a:latin typeface="Arial"/>
                <a:ea typeface="MS PGothic"/>
                <a:cs typeface="Arial"/>
              </a:rPr>
              <a:t>Core market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i="0" u="none" baseline="0" dirty="0">
                <a:latin typeface="Arial"/>
                <a:ea typeface="MS PGothic"/>
              </a:rPr>
              <a:t>AT &amp; DE</a:t>
            </a:r>
          </a:p>
          <a:p>
            <a:pPr algn="ctr" rtl="0">
              <a:defRPr/>
            </a:pPr>
            <a:r>
              <a:rPr lang="en-gb" sz="1000" b="0" i="0" u="none" baseline="0" dirty="0">
                <a:latin typeface="Arial"/>
                <a:ea typeface="MS PGothic"/>
                <a:cs typeface="Arial"/>
              </a:rPr>
              <a:t>Strategic focus</a:t>
            </a:r>
          </a:p>
          <a:p>
            <a:pPr algn="ctr" rtl="0">
              <a:defRPr/>
            </a:pPr>
            <a:r>
              <a:rPr lang="en-gb" sz="1500" b="1" i="0" u="none" baseline="0" dirty="0">
                <a:latin typeface="Arial"/>
                <a:ea typeface="MS PGothic"/>
              </a:rPr>
              <a:t>Southern &amp; </a:t>
            </a:r>
            <a:r>
              <a:rPr lang="en-gb" sz="1500" b="1" i="0" u="none" baseline="0" dirty="0" err="1">
                <a:latin typeface="Arial"/>
                <a:ea typeface="MS PGothic"/>
              </a:rPr>
              <a:t>Southeastern</a:t>
            </a:r>
            <a:br>
              <a:rPr lang="en-gb" sz="1500" b="1" dirty="0">
                <a:latin typeface="Arial"/>
                <a:ea typeface="MS PGothic"/>
              </a:rPr>
            </a:br>
            <a:r>
              <a:rPr lang="en-gb" sz="1500" b="1" i="0" u="none" baseline="0" dirty="0">
                <a:latin typeface="Arial"/>
                <a:ea typeface="MS PGothic"/>
              </a:rPr>
              <a:t>Europe</a:t>
            </a:r>
            <a:endParaRPr lang="en-gb" sz="1500" b="1" dirty="0">
              <a:latin typeface="Arial"/>
              <a:ea typeface="MS PGothic"/>
            </a:endParaRPr>
          </a:p>
        </p:txBody>
      </p:sp>
      <p:grpSp>
        <p:nvGrpSpPr>
          <p:cNvPr id="377" name="Gruppieren 376">
            <a:extLst>
              <a:ext uri="{FF2B5EF4-FFF2-40B4-BE49-F238E27FC236}">
                <a16:creationId xmlns:a16="http://schemas.microsoft.com/office/drawing/2014/main" id="{1F1B26B2-BF53-A619-EB70-8D075C6AACD7}"/>
              </a:ext>
            </a:extLst>
          </p:cNvPr>
          <p:cNvGrpSpPr/>
          <p:nvPr/>
        </p:nvGrpSpPr>
        <p:grpSpPr>
          <a:xfrm>
            <a:off x="3832126" y="4567944"/>
            <a:ext cx="1167508" cy="772273"/>
            <a:chOff x="7493881" y="4720704"/>
            <a:chExt cx="1434664" cy="948989"/>
          </a:xfrm>
          <a:solidFill>
            <a:schemeClr val="accent3"/>
          </a:solidFill>
        </p:grpSpPr>
        <p:grpSp>
          <p:nvGrpSpPr>
            <p:cNvPr id="378" name="Gruppieren 377">
              <a:extLst>
                <a:ext uri="{FF2B5EF4-FFF2-40B4-BE49-F238E27FC236}">
                  <a16:creationId xmlns:a16="http://schemas.microsoft.com/office/drawing/2014/main" id="{188CCB16-C254-69F9-933F-4AB4F5139C74}"/>
                </a:ext>
              </a:extLst>
            </p:cNvPr>
            <p:cNvGrpSpPr/>
            <p:nvPr/>
          </p:nvGrpSpPr>
          <p:grpSpPr>
            <a:xfrm>
              <a:off x="7493881" y="4720704"/>
              <a:ext cx="1434664" cy="948989"/>
              <a:chOff x="7493881" y="4720704"/>
              <a:chExt cx="1434664" cy="948989"/>
            </a:xfrm>
            <a:grpFill/>
          </p:grpSpPr>
          <p:sp>
            <p:nvSpPr>
              <p:cNvPr id="380" name="ee4p_AL_1_15912">
                <a:extLst>
                  <a:ext uri="{FF2B5EF4-FFF2-40B4-BE49-F238E27FC236}">
                    <a16:creationId xmlns:a16="http://schemas.microsoft.com/office/drawing/2014/main" id="{9E0D14FE-DA96-66F2-60B0-EDFD483750A5}"/>
                  </a:ext>
                </a:extLst>
              </p:cNvPr>
              <p:cNvSpPr>
                <a:spLocks noChangeAspect="1"/>
              </p:cNvSpPr>
              <p:nvPr>
                <p:custDataLst>
                  <p:tags r:id="rId4"/>
                </p:custDataLst>
              </p:nvPr>
            </p:nvSpPr>
            <p:spPr>
              <a:xfrm>
                <a:off x="8336497" y="5413837"/>
                <a:ext cx="49710" cy="101319"/>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1" name="ee4p_AD_1_15912">
                <a:extLst>
                  <a:ext uri="{FF2B5EF4-FFF2-40B4-BE49-F238E27FC236}">
                    <a16:creationId xmlns:a16="http://schemas.microsoft.com/office/drawing/2014/main" id="{360E509C-9EDE-8E44-E1A7-87D74A58A33D}"/>
                  </a:ext>
                </a:extLst>
              </p:cNvPr>
              <p:cNvSpPr>
                <a:spLocks noChangeAspect="1"/>
              </p:cNvSpPr>
              <p:nvPr>
                <p:custDataLst>
                  <p:tags r:id="rId5"/>
                </p:custDataLst>
              </p:nvPr>
            </p:nvSpPr>
            <p:spPr>
              <a:xfrm>
                <a:off x="7829129" y="5414016"/>
                <a:ext cx="9242" cy="7138"/>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2" name="ee4p_BE_1_15912">
                <a:extLst>
                  <a:ext uri="{FF2B5EF4-FFF2-40B4-BE49-F238E27FC236}">
                    <a16:creationId xmlns:a16="http://schemas.microsoft.com/office/drawing/2014/main" id="{A06E7135-DA65-0BAD-861F-A675D9F5A6AF}"/>
                  </a:ext>
                </a:extLst>
              </p:cNvPr>
              <p:cNvSpPr>
                <a:spLocks noChangeAspect="1"/>
              </p:cNvSpPr>
              <p:nvPr>
                <p:custDataLst>
                  <p:tags r:id="rId6"/>
                </p:custDataLst>
              </p:nvPr>
            </p:nvSpPr>
            <p:spPr>
              <a:xfrm>
                <a:off x="7860654" y="5096183"/>
                <a:ext cx="109040" cy="73854"/>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3" name="ee4p_BG_1_15912">
                <a:extLst>
                  <a:ext uri="{FF2B5EF4-FFF2-40B4-BE49-F238E27FC236}">
                    <a16:creationId xmlns:a16="http://schemas.microsoft.com/office/drawing/2014/main" id="{AA0CC2CF-9A7A-C305-AC55-18CEA4E36E43}"/>
                  </a:ext>
                </a:extLst>
              </p:cNvPr>
              <p:cNvSpPr>
                <a:spLocks noChangeAspect="1"/>
              </p:cNvSpPr>
              <p:nvPr>
                <p:custDataLst>
                  <p:tags r:id="rId7"/>
                </p:custDataLst>
              </p:nvPr>
            </p:nvSpPr>
            <p:spPr>
              <a:xfrm>
                <a:off x="8423493" y="5358882"/>
                <a:ext cx="177247" cy="102818"/>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4" name="ee4p_BA_1_15912">
                <a:extLst>
                  <a:ext uri="{FF2B5EF4-FFF2-40B4-BE49-F238E27FC236}">
                    <a16:creationId xmlns:a16="http://schemas.microsoft.com/office/drawing/2014/main" id="{4A637D27-25C0-380A-C38C-3C1742A91818}"/>
                  </a:ext>
                </a:extLst>
              </p:cNvPr>
              <p:cNvSpPr>
                <a:spLocks noChangeAspect="1"/>
              </p:cNvSpPr>
              <p:nvPr>
                <p:custDataLst>
                  <p:tags r:id="rId8"/>
                </p:custDataLst>
              </p:nvPr>
            </p:nvSpPr>
            <p:spPr>
              <a:xfrm>
                <a:off x="8235850" y="5322506"/>
                <a:ext cx="109256" cy="94357"/>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5" name="ee4p_BY_1_15912">
                <a:extLst>
                  <a:ext uri="{FF2B5EF4-FFF2-40B4-BE49-F238E27FC236}">
                    <a16:creationId xmlns:a16="http://schemas.microsoft.com/office/drawing/2014/main" id="{61D635B7-C2E2-447D-AA7B-274C1093B4DF}"/>
                  </a:ext>
                </a:extLst>
              </p:cNvPr>
              <p:cNvSpPr>
                <a:spLocks noChangeAspect="1"/>
              </p:cNvSpPr>
              <p:nvPr>
                <p:custDataLst>
                  <p:tags r:id="rId9"/>
                </p:custDataLst>
              </p:nvPr>
            </p:nvSpPr>
            <p:spPr>
              <a:xfrm>
                <a:off x="8447094" y="4915191"/>
                <a:ext cx="270789" cy="189514"/>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6" name="ee4p_CH_1_15912">
                <a:extLst>
                  <a:ext uri="{FF2B5EF4-FFF2-40B4-BE49-F238E27FC236}">
                    <a16:creationId xmlns:a16="http://schemas.microsoft.com/office/drawing/2014/main" id="{6D3D6C8D-9530-90A2-62B2-59C6F3458721}"/>
                  </a:ext>
                </a:extLst>
              </p:cNvPr>
              <p:cNvSpPr>
                <a:spLocks noChangeAspect="1"/>
              </p:cNvSpPr>
              <p:nvPr>
                <p:custDataLst>
                  <p:tags r:id="rId10"/>
                </p:custDataLst>
              </p:nvPr>
            </p:nvSpPr>
            <p:spPr>
              <a:xfrm>
                <a:off x="7958491" y="5233373"/>
                <a:ext cx="127357" cy="69597"/>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7" name="ee4p_CZ_1_15912">
                <a:extLst>
                  <a:ext uri="{FF2B5EF4-FFF2-40B4-BE49-F238E27FC236}">
                    <a16:creationId xmlns:a16="http://schemas.microsoft.com/office/drawing/2014/main" id="{4CB92A70-4A37-8AF0-AD84-2E85CC26554B}"/>
                  </a:ext>
                </a:extLst>
              </p:cNvPr>
              <p:cNvSpPr>
                <a:spLocks noChangeAspect="1"/>
              </p:cNvSpPr>
              <p:nvPr>
                <p:custDataLst>
                  <p:tags r:id="rId11"/>
                </p:custDataLst>
              </p:nvPr>
            </p:nvSpPr>
            <p:spPr>
              <a:xfrm>
                <a:off x="8132284" y="5113244"/>
                <a:ext cx="191479" cy="91063"/>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8" name="ee4p_DE_1_15912">
                <a:extLst>
                  <a:ext uri="{FF2B5EF4-FFF2-40B4-BE49-F238E27FC236}">
                    <a16:creationId xmlns:a16="http://schemas.microsoft.com/office/drawing/2014/main" id="{6EA710AD-D31F-3A4B-055E-406C9E0B0CCB}"/>
                  </a:ext>
                </a:extLst>
              </p:cNvPr>
              <p:cNvSpPr>
                <a:spLocks noChangeAspect="1"/>
              </p:cNvSpPr>
              <p:nvPr>
                <p:custDataLst>
                  <p:tags r:id="rId12"/>
                </p:custDataLst>
              </p:nvPr>
            </p:nvSpPr>
            <p:spPr>
              <a:xfrm>
                <a:off x="7955297" y="4958462"/>
                <a:ext cx="260107" cy="292821"/>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2"/>
              </a:solid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89" name="ee4p_DK_1_15912">
                <a:extLst>
                  <a:ext uri="{FF2B5EF4-FFF2-40B4-BE49-F238E27FC236}">
                    <a16:creationId xmlns:a16="http://schemas.microsoft.com/office/drawing/2014/main" id="{C2109F7A-8EB7-A96F-99DD-C0321D6A2987}"/>
                  </a:ext>
                </a:extLst>
              </p:cNvPr>
              <p:cNvSpPr>
                <a:spLocks noChangeAspect="1"/>
              </p:cNvSpPr>
              <p:nvPr>
                <p:custDataLst>
                  <p:tags r:id="rId13"/>
                </p:custDataLst>
              </p:nvPr>
            </p:nvSpPr>
            <p:spPr>
              <a:xfrm>
                <a:off x="8019589" y="4850659"/>
                <a:ext cx="199235" cy="124738"/>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0" name="ee4p_ES_1_15912">
                <a:extLst>
                  <a:ext uri="{FF2B5EF4-FFF2-40B4-BE49-F238E27FC236}">
                    <a16:creationId xmlns:a16="http://schemas.microsoft.com/office/drawing/2014/main" id="{C33DEC20-F55E-07B4-A377-A1F02E24B1B0}"/>
                  </a:ext>
                </a:extLst>
              </p:cNvPr>
              <p:cNvSpPr>
                <a:spLocks noChangeAspect="1"/>
              </p:cNvSpPr>
              <p:nvPr>
                <p:custDataLst>
                  <p:tags r:id="rId14"/>
                </p:custDataLst>
              </p:nvPr>
            </p:nvSpPr>
            <p:spPr>
              <a:xfrm>
                <a:off x="7823689" y="5501054"/>
                <a:ext cx="88001" cy="47169"/>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1" name="ee4p_ES_2_15912">
                <a:extLst>
                  <a:ext uri="{FF2B5EF4-FFF2-40B4-BE49-F238E27FC236}">
                    <a16:creationId xmlns:a16="http://schemas.microsoft.com/office/drawing/2014/main" id="{47A8A25D-AD9C-631D-52B8-6E3A90709E92}"/>
                  </a:ext>
                </a:extLst>
              </p:cNvPr>
              <p:cNvSpPr>
                <a:spLocks noChangeAspect="1"/>
              </p:cNvSpPr>
              <p:nvPr>
                <p:custDataLst>
                  <p:tags r:id="rId15"/>
                </p:custDataLst>
              </p:nvPr>
            </p:nvSpPr>
            <p:spPr>
              <a:xfrm>
                <a:off x="7526668" y="5375328"/>
                <a:ext cx="356190" cy="259134"/>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2" name="ee4p_EE_1_15912">
                <a:extLst>
                  <a:ext uri="{FF2B5EF4-FFF2-40B4-BE49-F238E27FC236}">
                    <a16:creationId xmlns:a16="http://schemas.microsoft.com/office/drawing/2014/main" id="{A91A64BF-0DEC-E65D-A1B6-3783DE815F17}"/>
                  </a:ext>
                </a:extLst>
              </p:cNvPr>
              <p:cNvSpPr>
                <a:spLocks noChangeAspect="1"/>
              </p:cNvSpPr>
              <p:nvPr>
                <p:custDataLst>
                  <p:tags r:id="rId16"/>
                </p:custDataLst>
              </p:nvPr>
            </p:nvSpPr>
            <p:spPr>
              <a:xfrm>
                <a:off x="8409590" y="4771520"/>
                <a:ext cx="178816" cy="87798"/>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3" name="ee4p_FR_1_15912">
                <a:extLst>
                  <a:ext uri="{FF2B5EF4-FFF2-40B4-BE49-F238E27FC236}">
                    <a16:creationId xmlns:a16="http://schemas.microsoft.com/office/drawing/2014/main" id="{4481840E-1416-14F6-006E-F84A66043BEA}"/>
                  </a:ext>
                </a:extLst>
              </p:cNvPr>
              <p:cNvSpPr>
                <a:spLocks noChangeAspect="1"/>
              </p:cNvSpPr>
              <p:nvPr>
                <p:custDataLst>
                  <p:tags r:id="rId17"/>
                </p:custDataLst>
              </p:nvPr>
            </p:nvSpPr>
            <p:spPr>
              <a:xfrm>
                <a:off x="7653700" y="5111017"/>
                <a:ext cx="406641" cy="345891"/>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4" name="ee4p_GB_1_15912">
                <a:extLst>
                  <a:ext uri="{FF2B5EF4-FFF2-40B4-BE49-F238E27FC236}">
                    <a16:creationId xmlns:a16="http://schemas.microsoft.com/office/drawing/2014/main" id="{C523A777-A491-E08F-D1FC-810DFEBF7064}"/>
                  </a:ext>
                </a:extLst>
              </p:cNvPr>
              <p:cNvSpPr>
                <a:spLocks noChangeAspect="1"/>
              </p:cNvSpPr>
              <p:nvPr>
                <p:custDataLst>
                  <p:tags r:id="rId18"/>
                </p:custDataLst>
              </p:nvPr>
            </p:nvSpPr>
            <p:spPr>
              <a:xfrm>
                <a:off x="7557646" y="4720704"/>
                <a:ext cx="280904" cy="461878"/>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5" name="ee4p_GR_1_15912">
                <a:extLst>
                  <a:ext uri="{FF2B5EF4-FFF2-40B4-BE49-F238E27FC236}">
                    <a16:creationId xmlns:a16="http://schemas.microsoft.com/office/drawing/2014/main" id="{BA38103F-D326-C85A-D38D-49EDA7DC693D}"/>
                  </a:ext>
                </a:extLst>
              </p:cNvPr>
              <p:cNvSpPr>
                <a:spLocks noChangeAspect="1"/>
              </p:cNvSpPr>
              <p:nvPr>
                <p:custDataLst>
                  <p:tags r:id="rId19"/>
                </p:custDataLst>
              </p:nvPr>
            </p:nvSpPr>
            <p:spPr>
              <a:xfrm>
                <a:off x="8346885" y="5444721"/>
                <a:ext cx="243814" cy="224972"/>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6" name="ee4p_HR_1_15912">
                <a:extLst>
                  <a:ext uri="{FF2B5EF4-FFF2-40B4-BE49-F238E27FC236}">
                    <a16:creationId xmlns:a16="http://schemas.microsoft.com/office/drawing/2014/main" id="{64A94A2E-5783-A3D1-39C7-EF2A96BDED09}"/>
                  </a:ext>
                </a:extLst>
              </p:cNvPr>
              <p:cNvSpPr>
                <a:spLocks noChangeAspect="1"/>
              </p:cNvSpPr>
              <p:nvPr>
                <p:custDataLst>
                  <p:tags r:id="rId20"/>
                </p:custDataLst>
              </p:nvPr>
            </p:nvSpPr>
            <p:spPr>
              <a:xfrm>
                <a:off x="8172822" y="5277930"/>
                <a:ext cx="167091" cy="143275"/>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7" name="ee4p_HU_1_15912">
                <a:extLst>
                  <a:ext uri="{FF2B5EF4-FFF2-40B4-BE49-F238E27FC236}">
                    <a16:creationId xmlns:a16="http://schemas.microsoft.com/office/drawing/2014/main" id="{41BD9DED-F9C9-4D0D-A264-1E4318831C3A}"/>
                  </a:ext>
                </a:extLst>
              </p:cNvPr>
              <p:cNvSpPr>
                <a:spLocks noChangeAspect="1"/>
              </p:cNvSpPr>
              <p:nvPr>
                <p:custDataLst>
                  <p:tags r:id="rId21"/>
                </p:custDataLst>
              </p:nvPr>
            </p:nvSpPr>
            <p:spPr>
              <a:xfrm>
                <a:off x="8245973" y="5205134"/>
                <a:ext cx="192646" cy="100560"/>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8" name="ee4p_IE_1_15912">
                <a:extLst>
                  <a:ext uri="{FF2B5EF4-FFF2-40B4-BE49-F238E27FC236}">
                    <a16:creationId xmlns:a16="http://schemas.microsoft.com/office/drawing/2014/main" id="{975D65C4-3230-7409-0EDF-0374CCA69E67}"/>
                  </a:ext>
                </a:extLst>
              </p:cNvPr>
              <p:cNvSpPr>
                <a:spLocks noChangeAspect="1"/>
              </p:cNvSpPr>
              <p:nvPr>
                <p:custDataLst>
                  <p:tags r:id="rId22"/>
                </p:custDataLst>
              </p:nvPr>
            </p:nvSpPr>
            <p:spPr>
              <a:xfrm>
                <a:off x="7493881" y="4946303"/>
                <a:ext cx="123898" cy="150536"/>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399" name="ee4p_IT_1_15912">
                <a:extLst>
                  <a:ext uri="{FF2B5EF4-FFF2-40B4-BE49-F238E27FC236}">
                    <a16:creationId xmlns:a16="http://schemas.microsoft.com/office/drawing/2014/main" id="{7B801843-CF5B-CDD7-E33C-ED9C576CF172}"/>
                  </a:ext>
                </a:extLst>
              </p:cNvPr>
              <p:cNvSpPr>
                <a:spLocks noChangeAspect="1"/>
              </p:cNvSpPr>
              <p:nvPr>
                <p:custDataLst>
                  <p:tags r:id="rId23"/>
                </p:custDataLst>
              </p:nvPr>
            </p:nvSpPr>
            <p:spPr>
              <a:xfrm>
                <a:off x="8021276" y="5406618"/>
                <a:ext cx="211680" cy="206332"/>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0" name="ee4p_SM_1_15912">
                <a:extLst>
                  <a:ext uri="{FF2B5EF4-FFF2-40B4-BE49-F238E27FC236}">
                    <a16:creationId xmlns:a16="http://schemas.microsoft.com/office/drawing/2014/main" id="{FD2E0388-AA6D-AE82-02C4-56691CAE91DF}"/>
                  </a:ext>
                </a:extLst>
              </p:cNvPr>
              <p:cNvSpPr>
                <a:spLocks noChangeAspect="1"/>
              </p:cNvSpPr>
              <p:nvPr>
                <p:custDataLst>
                  <p:tags r:id="rId24"/>
                </p:custDataLst>
              </p:nvPr>
            </p:nvSpPr>
            <p:spPr>
              <a:xfrm>
                <a:off x="8141006" y="5367512"/>
                <a:ext cx="3346" cy="3322"/>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1" name="ee4p_XK_1_15912">
                <a:extLst>
                  <a:ext uri="{FF2B5EF4-FFF2-40B4-BE49-F238E27FC236}">
                    <a16:creationId xmlns:a16="http://schemas.microsoft.com/office/drawing/2014/main" id="{74BB3237-ED6A-2CB4-9DB3-AEC4CC41AC5E}"/>
                  </a:ext>
                </a:extLst>
              </p:cNvPr>
              <p:cNvSpPr>
                <a:spLocks noChangeAspect="1"/>
              </p:cNvSpPr>
              <p:nvPr>
                <p:custDataLst>
                  <p:tags r:id="rId25"/>
                </p:custDataLst>
              </p:nvPr>
            </p:nvSpPr>
            <p:spPr>
              <a:xfrm>
                <a:off x="8357762" y="5392742"/>
                <a:ext cx="48945" cy="48236"/>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2" name="ee4p_LI_1_15912">
                <a:extLst>
                  <a:ext uri="{FF2B5EF4-FFF2-40B4-BE49-F238E27FC236}">
                    <a16:creationId xmlns:a16="http://schemas.microsoft.com/office/drawing/2014/main" id="{924B3DD0-D063-C926-7F49-31B2F99BC5E4}"/>
                  </a:ext>
                </a:extLst>
              </p:cNvPr>
              <p:cNvSpPr>
                <a:spLocks noChangeAspect="1"/>
              </p:cNvSpPr>
              <p:nvPr>
                <p:custDataLst>
                  <p:tags r:id="rId26"/>
                </p:custDataLst>
              </p:nvPr>
            </p:nvSpPr>
            <p:spPr>
              <a:xfrm>
                <a:off x="8058155" y="5251573"/>
                <a:ext cx="3723" cy="7664"/>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3" name="ee4p_LT_1_15912">
                <a:extLst>
                  <a:ext uri="{FF2B5EF4-FFF2-40B4-BE49-F238E27FC236}">
                    <a16:creationId xmlns:a16="http://schemas.microsoft.com/office/drawing/2014/main" id="{2C0A39F9-CDE6-C2B0-7002-316E0536C1AF}"/>
                  </a:ext>
                </a:extLst>
              </p:cNvPr>
              <p:cNvSpPr>
                <a:spLocks noChangeAspect="1"/>
              </p:cNvSpPr>
              <p:nvPr>
                <p:custDataLst>
                  <p:tags r:id="rId27"/>
                </p:custDataLst>
              </p:nvPr>
            </p:nvSpPr>
            <p:spPr>
              <a:xfrm>
                <a:off x="8382478" y="4904528"/>
                <a:ext cx="166868" cy="99637"/>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4" name="ee4p_LU_1_15912">
                <a:extLst>
                  <a:ext uri="{FF2B5EF4-FFF2-40B4-BE49-F238E27FC236}">
                    <a16:creationId xmlns:a16="http://schemas.microsoft.com/office/drawing/2014/main" id="{D4A507A6-A89A-710F-F73C-DA8E1812C81A}"/>
                  </a:ext>
                </a:extLst>
              </p:cNvPr>
              <p:cNvSpPr>
                <a:spLocks noChangeAspect="1"/>
              </p:cNvSpPr>
              <p:nvPr>
                <p:custDataLst>
                  <p:tags r:id="rId28"/>
                </p:custDataLst>
              </p:nvPr>
            </p:nvSpPr>
            <p:spPr>
              <a:xfrm>
                <a:off x="7951533" y="5145751"/>
                <a:ext cx="21833" cy="26697"/>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5" name="ee4p_LV_1_15912">
                <a:extLst>
                  <a:ext uri="{FF2B5EF4-FFF2-40B4-BE49-F238E27FC236}">
                    <a16:creationId xmlns:a16="http://schemas.microsoft.com/office/drawing/2014/main" id="{87C0A1D9-0AD2-A34B-1B5B-286733D34CA7}"/>
                  </a:ext>
                </a:extLst>
              </p:cNvPr>
              <p:cNvSpPr>
                <a:spLocks noChangeAspect="1"/>
              </p:cNvSpPr>
              <p:nvPr>
                <p:custDataLst>
                  <p:tags r:id="rId29"/>
                </p:custDataLst>
              </p:nvPr>
            </p:nvSpPr>
            <p:spPr>
              <a:xfrm>
                <a:off x="8385748" y="4837233"/>
                <a:ext cx="204106" cy="97076"/>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6" name="ee4p_MC_1_15912">
                <a:extLst>
                  <a:ext uri="{FF2B5EF4-FFF2-40B4-BE49-F238E27FC236}">
                    <a16:creationId xmlns:a16="http://schemas.microsoft.com/office/drawing/2014/main" id="{868D1DE5-CC13-1E64-0F84-84E9057E008B}"/>
                  </a:ext>
                </a:extLst>
              </p:cNvPr>
              <p:cNvSpPr>
                <a:spLocks noChangeAspect="1"/>
              </p:cNvSpPr>
              <p:nvPr>
                <p:custDataLst>
                  <p:tags r:id="rId30"/>
                </p:custDataLst>
              </p:nvPr>
            </p:nvSpPr>
            <p:spPr>
              <a:xfrm>
                <a:off x="7998468" y="5375109"/>
                <a:ext cx="1733" cy="1359"/>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7" name="ee4p_MD_1_15912">
                <a:extLst>
                  <a:ext uri="{FF2B5EF4-FFF2-40B4-BE49-F238E27FC236}">
                    <a16:creationId xmlns:a16="http://schemas.microsoft.com/office/drawing/2014/main" id="{F6F04C8E-7C61-C848-D75D-86C8F93983AA}"/>
                  </a:ext>
                </a:extLst>
              </p:cNvPr>
              <p:cNvSpPr>
                <a:spLocks noChangeAspect="1"/>
              </p:cNvSpPr>
              <p:nvPr>
                <p:custDataLst>
                  <p:tags r:id="rId31"/>
                </p:custDataLst>
              </p:nvPr>
            </p:nvSpPr>
            <p:spPr>
              <a:xfrm>
                <a:off x="8544895" y="5207894"/>
                <a:ext cx="99741" cy="108487"/>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8" name="ee4p_MK_1_15912">
                <a:extLst>
                  <a:ext uri="{FF2B5EF4-FFF2-40B4-BE49-F238E27FC236}">
                    <a16:creationId xmlns:a16="http://schemas.microsoft.com/office/drawing/2014/main" id="{FDC2E8C8-4D55-3973-914A-E7AA2F8B83BB}"/>
                  </a:ext>
                </a:extLst>
              </p:cNvPr>
              <p:cNvSpPr>
                <a:spLocks noChangeAspect="1"/>
              </p:cNvSpPr>
              <p:nvPr>
                <p:custDataLst>
                  <p:tags r:id="rId32"/>
                </p:custDataLst>
              </p:nvPr>
            </p:nvSpPr>
            <p:spPr>
              <a:xfrm>
                <a:off x="8369666" y="5423764"/>
                <a:ext cx="72618" cy="51240"/>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09" name="ee4p_MT_1_15912">
                <a:extLst>
                  <a:ext uri="{FF2B5EF4-FFF2-40B4-BE49-F238E27FC236}">
                    <a16:creationId xmlns:a16="http://schemas.microsoft.com/office/drawing/2014/main" id="{F520098A-6F25-D501-9DBB-02AA9C6EBD73}"/>
                  </a:ext>
                </a:extLst>
              </p:cNvPr>
              <p:cNvSpPr>
                <a:spLocks noChangeAspect="1"/>
              </p:cNvSpPr>
              <p:nvPr>
                <p:custDataLst>
                  <p:tags r:id="rId33"/>
                </p:custDataLst>
              </p:nvPr>
            </p:nvSpPr>
            <p:spPr>
              <a:xfrm>
                <a:off x="8196508" y="5636001"/>
                <a:ext cx="6106" cy="5124"/>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0" name="ee4p_MT_2_15912">
                <a:extLst>
                  <a:ext uri="{FF2B5EF4-FFF2-40B4-BE49-F238E27FC236}">
                    <a16:creationId xmlns:a16="http://schemas.microsoft.com/office/drawing/2014/main" id="{F2B22637-7276-5A9A-BCE3-72D7C812EBC0}"/>
                  </a:ext>
                </a:extLst>
              </p:cNvPr>
              <p:cNvSpPr>
                <a:spLocks noChangeAspect="1"/>
              </p:cNvSpPr>
              <p:nvPr>
                <p:custDataLst>
                  <p:tags r:id="rId34"/>
                </p:custDataLst>
              </p:nvPr>
            </p:nvSpPr>
            <p:spPr>
              <a:xfrm>
                <a:off x="8191655" y="5632845"/>
                <a:ext cx="3992" cy="2064"/>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1" name="ee4p_ME_1_15912">
                <a:extLst>
                  <a:ext uri="{FF2B5EF4-FFF2-40B4-BE49-F238E27FC236}">
                    <a16:creationId xmlns:a16="http://schemas.microsoft.com/office/drawing/2014/main" id="{7B93F9EE-6F82-F1BF-F92E-9CE819BF6B02}"/>
                  </a:ext>
                </a:extLst>
              </p:cNvPr>
              <p:cNvSpPr>
                <a:spLocks noChangeAspect="1"/>
              </p:cNvSpPr>
              <p:nvPr>
                <p:custDataLst>
                  <p:tags r:id="rId35"/>
                </p:custDataLst>
              </p:nvPr>
            </p:nvSpPr>
            <p:spPr>
              <a:xfrm>
                <a:off x="8312519" y="5383025"/>
                <a:ext cx="54281" cy="57433"/>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2" name="ee4p_NL_1_15912">
                <a:extLst>
                  <a:ext uri="{FF2B5EF4-FFF2-40B4-BE49-F238E27FC236}">
                    <a16:creationId xmlns:a16="http://schemas.microsoft.com/office/drawing/2014/main" id="{5CFD7504-47E8-21CA-7443-90EF301195C4}"/>
                  </a:ext>
                </a:extLst>
              </p:cNvPr>
              <p:cNvSpPr>
                <a:spLocks noChangeAspect="1"/>
              </p:cNvSpPr>
              <p:nvPr>
                <p:custDataLst>
                  <p:tags r:id="rId36"/>
                </p:custDataLst>
              </p:nvPr>
            </p:nvSpPr>
            <p:spPr>
              <a:xfrm>
                <a:off x="7884089" y="5014550"/>
                <a:ext cx="109255" cy="109459"/>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3" name="ee4p_PL_1_15912">
                <a:extLst>
                  <a:ext uri="{FF2B5EF4-FFF2-40B4-BE49-F238E27FC236}">
                    <a16:creationId xmlns:a16="http://schemas.microsoft.com/office/drawing/2014/main" id="{BFB2A9DA-BA2D-59D3-2149-A6E156394291}"/>
                  </a:ext>
                </a:extLst>
              </p:cNvPr>
              <p:cNvSpPr>
                <a:spLocks noChangeAspect="1"/>
              </p:cNvSpPr>
              <p:nvPr>
                <p:custDataLst>
                  <p:tags r:id="rId37"/>
                </p:custDataLst>
              </p:nvPr>
            </p:nvSpPr>
            <p:spPr>
              <a:xfrm>
                <a:off x="8190184" y="4967162"/>
                <a:ext cx="283340" cy="220889"/>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4" name="ee4p_PT_1_15912">
                <a:extLst>
                  <a:ext uri="{FF2B5EF4-FFF2-40B4-BE49-F238E27FC236}">
                    <a16:creationId xmlns:a16="http://schemas.microsoft.com/office/drawing/2014/main" id="{68371B03-6994-8BA2-7990-982FA77ADDC0}"/>
                  </a:ext>
                </a:extLst>
              </p:cNvPr>
              <p:cNvSpPr>
                <a:spLocks noChangeAspect="1"/>
              </p:cNvSpPr>
              <p:nvPr>
                <p:custDataLst>
                  <p:tags r:id="rId38"/>
                </p:custDataLst>
              </p:nvPr>
            </p:nvSpPr>
            <p:spPr>
              <a:xfrm>
                <a:off x="7519737" y="5431308"/>
                <a:ext cx="92786" cy="171284"/>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5" name="ee4p_RO_1_15912">
                <a:extLst>
                  <a:ext uri="{FF2B5EF4-FFF2-40B4-BE49-F238E27FC236}">
                    <a16:creationId xmlns:a16="http://schemas.microsoft.com/office/drawing/2014/main" id="{111BFE03-9EF1-FDF8-9E68-8361E360121B}"/>
                  </a:ext>
                </a:extLst>
              </p:cNvPr>
              <p:cNvSpPr>
                <a:spLocks noChangeAspect="1"/>
              </p:cNvSpPr>
              <p:nvPr>
                <p:custDataLst>
                  <p:tags r:id="rId39"/>
                </p:custDataLst>
              </p:nvPr>
            </p:nvSpPr>
            <p:spPr>
              <a:xfrm>
                <a:off x="8363792" y="5215690"/>
                <a:ext cx="268768" cy="162889"/>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6" name="ee4p_IT_2_15912">
                <a:extLst>
                  <a:ext uri="{FF2B5EF4-FFF2-40B4-BE49-F238E27FC236}">
                    <a16:creationId xmlns:a16="http://schemas.microsoft.com/office/drawing/2014/main" id="{AE501EB8-5113-22FB-6E62-9FD4F805DA97}"/>
                  </a:ext>
                </a:extLst>
              </p:cNvPr>
              <p:cNvSpPr>
                <a:spLocks noChangeAspect="1"/>
              </p:cNvSpPr>
              <p:nvPr>
                <p:custDataLst>
                  <p:tags r:id="rId40"/>
                </p:custDataLst>
              </p:nvPr>
            </p:nvSpPr>
            <p:spPr>
              <a:xfrm>
                <a:off x="7977168" y="5258346"/>
                <a:ext cx="336756" cy="31363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7" name="ee4p_RS_1_15912">
                <a:extLst>
                  <a:ext uri="{FF2B5EF4-FFF2-40B4-BE49-F238E27FC236}">
                    <a16:creationId xmlns:a16="http://schemas.microsoft.com/office/drawing/2014/main" id="{C2959219-F784-5544-C026-C60DF64CF337}"/>
                  </a:ext>
                </a:extLst>
              </p:cNvPr>
              <p:cNvSpPr>
                <a:spLocks noChangeAspect="1"/>
              </p:cNvSpPr>
              <p:nvPr>
                <p:custDataLst>
                  <p:tags r:id="rId41"/>
                </p:custDataLst>
              </p:nvPr>
            </p:nvSpPr>
            <p:spPr>
              <a:xfrm>
                <a:off x="8323955" y="5290939"/>
                <a:ext cx="117510" cy="136793"/>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8" name="ee4p_SK_1_15912">
                <a:extLst>
                  <a:ext uri="{FF2B5EF4-FFF2-40B4-BE49-F238E27FC236}">
                    <a16:creationId xmlns:a16="http://schemas.microsoft.com/office/drawing/2014/main" id="{D8B1FEEB-5067-3DC5-D539-3BD93E2AD04A}"/>
                  </a:ext>
                </a:extLst>
              </p:cNvPr>
              <p:cNvSpPr>
                <a:spLocks noChangeAspect="1"/>
              </p:cNvSpPr>
              <p:nvPr>
                <p:custDataLst>
                  <p:tags r:id="rId42"/>
                </p:custDataLst>
              </p:nvPr>
            </p:nvSpPr>
            <p:spPr>
              <a:xfrm>
                <a:off x="8267830" y="5166833"/>
                <a:ext cx="161192" cy="66982"/>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19" name="ee4p_SI_1_15912">
                <a:extLst>
                  <a:ext uri="{FF2B5EF4-FFF2-40B4-BE49-F238E27FC236}">
                    <a16:creationId xmlns:a16="http://schemas.microsoft.com/office/drawing/2014/main" id="{289F14D1-B5B8-9306-0A88-B13BADC26C82}"/>
                  </a:ext>
                </a:extLst>
              </p:cNvPr>
              <p:cNvSpPr>
                <a:spLocks noChangeAspect="1"/>
              </p:cNvSpPr>
              <p:nvPr>
                <p:custDataLst>
                  <p:tags r:id="rId43"/>
                </p:custDataLst>
              </p:nvPr>
            </p:nvSpPr>
            <p:spPr>
              <a:xfrm>
                <a:off x="8168875" y="5266188"/>
                <a:ext cx="89116" cy="5097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20" name="ee4p_UA_1_15912">
                <a:extLst>
                  <a:ext uri="{FF2B5EF4-FFF2-40B4-BE49-F238E27FC236}">
                    <a16:creationId xmlns:a16="http://schemas.microsoft.com/office/drawing/2014/main" id="{BBAA14BA-4F9A-B2BF-B634-D97867F67620}"/>
                  </a:ext>
                </a:extLst>
              </p:cNvPr>
              <p:cNvSpPr>
                <a:spLocks noChangeAspect="1"/>
              </p:cNvSpPr>
              <p:nvPr>
                <p:custDataLst>
                  <p:tags r:id="rId44"/>
                </p:custDataLst>
              </p:nvPr>
            </p:nvSpPr>
            <p:spPr>
              <a:xfrm>
                <a:off x="8417467" y="5063463"/>
                <a:ext cx="511078" cy="290198"/>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sp>
            <p:nvSpPr>
              <p:cNvPr id="421" name="ee4p_VA_1_15912">
                <a:extLst>
                  <a:ext uri="{FF2B5EF4-FFF2-40B4-BE49-F238E27FC236}">
                    <a16:creationId xmlns:a16="http://schemas.microsoft.com/office/drawing/2014/main" id="{2BDC25F8-4C8A-15A1-23B4-A8E8FE13E295}"/>
                  </a:ext>
                </a:extLst>
              </p:cNvPr>
              <p:cNvSpPr>
                <a:spLocks noChangeAspect="1"/>
              </p:cNvSpPr>
              <p:nvPr>
                <p:custDataLst>
                  <p:tags r:id="rId45"/>
                </p:custDataLst>
              </p:nvPr>
            </p:nvSpPr>
            <p:spPr>
              <a:xfrm>
                <a:off x="8141877" y="5439192"/>
                <a:ext cx="331" cy="297"/>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grpSp>
        <p:sp>
          <p:nvSpPr>
            <p:cNvPr id="379" name="ee4p_AT_1_15912">
              <a:extLst>
                <a:ext uri="{FF2B5EF4-FFF2-40B4-BE49-F238E27FC236}">
                  <a16:creationId xmlns:a16="http://schemas.microsoft.com/office/drawing/2014/main" id="{79F0F4FB-6A5D-5662-9306-89F75E38089F}"/>
                </a:ext>
              </a:extLst>
            </p:cNvPr>
            <p:cNvSpPr>
              <a:spLocks noChangeAspect="1"/>
            </p:cNvSpPr>
            <p:nvPr>
              <p:custDataLst>
                <p:tags r:id="rId3"/>
              </p:custDataLst>
            </p:nvPr>
          </p:nvSpPr>
          <p:spPr>
            <a:xfrm>
              <a:off x="8059420" y="5188771"/>
              <a:ext cx="216495" cy="93969"/>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solidFill>
              <a:schemeClr val="tx2"/>
            </a:solidFill>
            <a:ln w="3175" cap="rnd" cmpd="sng" algn="ctr">
              <a:solidFill>
                <a:schemeClr val="bg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err="1">
                <a:ln>
                  <a:noFill/>
                </a:ln>
                <a:solidFill>
                  <a:srgbClr val="575756"/>
                </a:solidFill>
                <a:effectLst/>
                <a:uLnTx/>
                <a:uFillTx/>
                <a:latin typeface="Arial" panose="020B0604020202020204" pitchFamily="34" charset="0"/>
                <a:ea typeface="MS PGothic"/>
                <a:cs typeface="Arial" panose="020B0604020202020204" pitchFamily="34" charset="0"/>
              </a:endParaRPr>
            </a:p>
          </p:txBody>
        </p:sp>
      </p:grpSp>
      <p:sp>
        <p:nvSpPr>
          <p:cNvPr id="422" name="Textfeld 421">
            <a:extLst>
              <a:ext uri="{FF2B5EF4-FFF2-40B4-BE49-F238E27FC236}">
                <a16:creationId xmlns:a16="http://schemas.microsoft.com/office/drawing/2014/main" id="{2AB76989-A2DA-6C68-067A-F9200E013768}"/>
              </a:ext>
            </a:extLst>
          </p:cNvPr>
          <p:cNvSpPr txBox="1"/>
          <p:nvPr/>
        </p:nvSpPr>
        <p:spPr>
          <a:xfrm>
            <a:off x="5522720" y="4575638"/>
            <a:ext cx="1154162" cy="923330"/>
          </a:xfrm>
          <a:prstGeom prst="rect">
            <a:avLst/>
          </a:prstGeom>
          <a:no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0488E"/>
              </a:buClr>
              <a:buSzTx/>
              <a:buFontTx/>
              <a:buNone/>
              <a:tabLst/>
              <a:defRPr/>
            </a:pPr>
            <a:r>
              <a:rPr kumimoji="0" lang="en-gb" sz="1000" b="0" i="0" u="none" strike="noStrike" kern="1200" cap="none" spc="0" normalizeH="0" baseline="0">
                <a:ln>
                  <a:noFill/>
                </a:ln>
                <a:effectLst/>
                <a:uLnTx/>
                <a:uFillTx/>
                <a:latin typeface="Arial"/>
                <a:ea typeface="MS PGothic"/>
                <a:cs typeface="+mn-cs"/>
              </a:rPr>
              <a:t>Listed </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company</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with outstanding</a:t>
            </a:r>
            <a:br>
              <a:rPr kumimoji="0" lang="en-gb" sz="1000" b="0" i="0" u="none" strike="noStrike" kern="1200" cap="none" spc="0" normalizeH="0" baseline="0">
                <a:ln>
                  <a:noFill/>
                </a:ln>
                <a:effectLst/>
                <a:uLnTx/>
                <a:uFillTx/>
                <a:latin typeface="Arial"/>
                <a:ea typeface="MS PGothic"/>
                <a:cs typeface="+mn-cs"/>
              </a:rPr>
            </a:br>
            <a:r>
              <a:rPr lang="en-gb" sz="1500" b="1" i="0" u="none" baseline="0">
                <a:latin typeface="Arial"/>
                <a:ea typeface="MS PGothic"/>
              </a:rPr>
              <a:t>compliance</a:t>
            </a:r>
            <a:br>
              <a:rPr lang="en-gb" sz="1500" b="1">
                <a:latin typeface="Arial"/>
                <a:ea typeface="MS PGothic"/>
              </a:rPr>
            </a:br>
            <a:r>
              <a:rPr lang="en-gb" sz="1500" b="1" i="0" u="none" baseline="0">
                <a:latin typeface="Arial"/>
                <a:ea typeface="MS PGothic"/>
              </a:rPr>
              <a:t>culture</a:t>
            </a:r>
          </a:p>
        </p:txBody>
      </p:sp>
      <p:grpSp>
        <p:nvGrpSpPr>
          <p:cNvPr id="423" name="Grafik 203">
            <a:extLst>
              <a:ext uri="{FF2B5EF4-FFF2-40B4-BE49-F238E27FC236}">
                <a16:creationId xmlns:a16="http://schemas.microsoft.com/office/drawing/2014/main" id="{ACACB26C-459C-82CF-136F-C92122EB8BF0}"/>
              </a:ext>
            </a:extLst>
          </p:cNvPr>
          <p:cNvGrpSpPr>
            <a:grpSpLocks noChangeAspect="1"/>
          </p:cNvGrpSpPr>
          <p:nvPr/>
        </p:nvGrpSpPr>
        <p:grpSpPr>
          <a:xfrm>
            <a:off x="5902951" y="5657864"/>
            <a:ext cx="393700" cy="550981"/>
            <a:chOff x="4271962" y="876300"/>
            <a:chExt cx="3646730" cy="5103590"/>
          </a:xfrm>
          <a:solidFill>
            <a:schemeClr val="tx2"/>
          </a:solidFill>
        </p:grpSpPr>
        <p:sp>
          <p:nvSpPr>
            <p:cNvPr id="424" name="Freihandform: Form 423">
              <a:extLst>
                <a:ext uri="{FF2B5EF4-FFF2-40B4-BE49-F238E27FC236}">
                  <a16:creationId xmlns:a16="http://schemas.microsoft.com/office/drawing/2014/main" id="{A946ED10-3C7E-41C1-4374-957B904B9655}"/>
                </a:ext>
              </a:extLst>
            </p:cNvPr>
            <p:cNvSpPr/>
            <p:nvPr/>
          </p:nvSpPr>
          <p:spPr>
            <a:xfrm>
              <a:off x="4271962" y="876300"/>
              <a:ext cx="3646730" cy="5103590"/>
            </a:xfrm>
            <a:custGeom>
              <a:avLst/>
              <a:gdLst>
                <a:gd name="connsiteX0" fmla="*/ 0 w 3646730"/>
                <a:gd name="connsiteY0" fmla="*/ 5103400 h 5103590"/>
                <a:gd name="connsiteX1" fmla="*/ 0 w 3646730"/>
                <a:gd name="connsiteY1" fmla="*/ 2667 h 5103590"/>
                <a:gd name="connsiteX2" fmla="*/ 49435 w 3646730"/>
                <a:gd name="connsiteY2" fmla="*/ 0 h 5103590"/>
                <a:gd name="connsiteX3" fmla="*/ 2772537 w 3646730"/>
                <a:gd name="connsiteY3" fmla="*/ 1048 h 5103590"/>
                <a:gd name="connsiteX4" fmla="*/ 2841784 w 3646730"/>
                <a:gd name="connsiteY4" fmla="*/ 29623 h 5103590"/>
                <a:gd name="connsiteX5" fmla="*/ 3618166 w 3646730"/>
                <a:gd name="connsiteY5" fmla="*/ 807339 h 5103590"/>
                <a:gd name="connsiteX6" fmla="*/ 3645408 w 3646730"/>
                <a:gd name="connsiteY6" fmla="*/ 872204 h 5103590"/>
                <a:gd name="connsiteX7" fmla="*/ 3646551 w 3646730"/>
                <a:gd name="connsiteY7" fmla="*/ 5062633 h 5103590"/>
                <a:gd name="connsiteX8" fmla="*/ 3646551 w 3646730"/>
                <a:gd name="connsiteY8" fmla="*/ 5103590 h 5103590"/>
                <a:gd name="connsiteX9" fmla="*/ 3578733 w 3646730"/>
                <a:gd name="connsiteY9" fmla="*/ 896874 h 5103590"/>
                <a:gd name="connsiteX10" fmla="*/ 2741105 w 3646730"/>
                <a:gd name="connsiteY10" fmla="*/ 896874 h 5103590"/>
                <a:gd name="connsiteX11" fmla="*/ 2741105 w 3646730"/>
                <a:gd name="connsiteY11" fmla="*/ 68199 h 5103590"/>
                <a:gd name="connsiteX12" fmla="*/ 65056 w 3646730"/>
                <a:gd name="connsiteY12" fmla="*/ 68199 h 5103590"/>
                <a:gd name="connsiteX13" fmla="*/ 65056 w 3646730"/>
                <a:gd name="connsiteY13" fmla="*/ 5038725 h 5103590"/>
                <a:gd name="connsiteX14" fmla="*/ 3578733 w 3646730"/>
                <a:gd name="connsiteY14" fmla="*/ 5038725 h 5103590"/>
                <a:gd name="connsiteX15" fmla="*/ 3532728 w 3646730"/>
                <a:gd name="connsiteY15" fmla="*/ 831437 h 5103590"/>
                <a:gd name="connsiteX16" fmla="*/ 2808828 w 3646730"/>
                <a:gd name="connsiteY16" fmla="*/ 105918 h 5103590"/>
                <a:gd name="connsiteX17" fmla="*/ 2808828 w 3646730"/>
                <a:gd name="connsiteY17" fmla="*/ 831437 h 5103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46730" h="5103590">
                  <a:moveTo>
                    <a:pt x="0" y="5103400"/>
                  </a:moveTo>
                  <a:lnTo>
                    <a:pt x="0" y="2667"/>
                  </a:lnTo>
                  <a:cubicBezTo>
                    <a:pt x="16288" y="1715"/>
                    <a:pt x="32861" y="0"/>
                    <a:pt x="49435" y="0"/>
                  </a:cubicBezTo>
                  <a:cubicBezTo>
                    <a:pt x="957485" y="0"/>
                    <a:pt x="1865186" y="349"/>
                    <a:pt x="2772537" y="1048"/>
                  </a:cubicBezTo>
                  <a:cubicBezTo>
                    <a:pt x="2798273" y="2082"/>
                    <a:pt x="2822808" y="12206"/>
                    <a:pt x="2841784" y="29623"/>
                  </a:cubicBezTo>
                  <a:cubicBezTo>
                    <a:pt x="3101816" y="287560"/>
                    <a:pt x="3360611" y="546799"/>
                    <a:pt x="3618166" y="807339"/>
                  </a:cubicBezTo>
                  <a:cubicBezTo>
                    <a:pt x="3634644" y="825051"/>
                    <a:pt x="3644298" y="848038"/>
                    <a:pt x="3645408" y="872204"/>
                  </a:cubicBezTo>
                  <a:cubicBezTo>
                    <a:pt x="3646614" y="2269204"/>
                    <a:pt x="3646996" y="3666014"/>
                    <a:pt x="3646551" y="5062633"/>
                  </a:cubicBezTo>
                  <a:lnTo>
                    <a:pt x="3646551" y="5103590"/>
                  </a:lnTo>
                  <a:close/>
                  <a:moveTo>
                    <a:pt x="3578733" y="896874"/>
                  </a:moveTo>
                  <a:lnTo>
                    <a:pt x="2741105" y="896874"/>
                  </a:lnTo>
                  <a:lnTo>
                    <a:pt x="2741105" y="68199"/>
                  </a:lnTo>
                  <a:lnTo>
                    <a:pt x="65056" y="68199"/>
                  </a:lnTo>
                  <a:lnTo>
                    <a:pt x="65056" y="5038725"/>
                  </a:lnTo>
                  <a:lnTo>
                    <a:pt x="3578733" y="5038725"/>
                  </a:lnTo>
                  <a:close/>
                  <a:moveTo>
                    <a:pt x="3532728" y="831437"/>
                  </a:moveTo>
                  <a:lnTo>
                    <a:pt x="2808828" y="105918"/>
                  </a:lnTo>
                  <a:lnTo>
                    <a:pt x="2808828" y="83143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25" name="Freihandform: Form 424">
              <a:extLst>
                <a:ext uri="{FF2B5EF4-FFF2-40B4-BE49-F238E27FC236}">
                  <a16:creationId xmlns:a16="http://schemas.microsoft.com/office/drawing/2014/main" id="{E1E52ADC-D23A-2316-0219-9D70A58019E4}"/>
                </a:ext>
              </a:extLst>
            </p:cNvPr>
            <p:cNvSpPr/>
            <p:nvPr/>
          </p:nvSpPr>
          <p:spPr>
            <a:xfrm>
              <a:off x="4587715" y="3131248"/>
              <a:ext cx="2844355" cy="2250757"/>
            </a:xfrm>
            <a:custGeom>
              <a:avLst/>
              <a:gdLst>
                <a:gd name="connsiteX0" fmla="*/ 2499836 w 2844355"/>
                <a:gd name="connsiteY0" fmla="*/ 118110 h 2250757"/>
                <a:gd name="connsiteX1" fmla="*/ 20860 w 2844355"/>
                <a:gd name="connsiteY1" fmla="*/ 118110 h 2250757"/>
                <a:gd name="connsiteX2" fmla="*/ 10668 w 2844355"/>
                <a:gd name="connsiteY2" fmla="*/ 106489 h 2250757"/>
                <a:gd name="connsiteX3" fmla="*/ 36385 w 2844355"/>
                <a:gd name="connsiteY3" fmla="*/ 82296 h 2250757"/>
                <a:gd name="connsiteX4" fmla="*/ 74486 w 2844355"/>
                <a:gd name="connsiteY4" fmla="*/ 81248 h 2250757"/>
                <a:gd name="connsiteX5" fmla="*/ 2474786 w 2844355"/>
                <a:gd name="connsiteY5" fmla="*/ 81820 h 2250757"/>
                <a:gd name="connsiteX6" fmla="*/ 2568702 w 2844355"/>
                <a:gd name="connsiteY6" fmla="*/ 42577 h 2250757"/>
                <a:gd name="connsiteX7" fmla="*/ 2578798 w 2844355"/>
                <a:gd name="connsiteY7" fmla="*/ 33052 h 2250757"/>
                <a:gd name="connsiteX8" fmla="*/ 2655665 w 2844355"/>
                <a:gd name="connsiteY8" fmla="*/ 0 h 2250757"/>
                <a:gd name="connsiteX9" fmla="*/ 2683288 w 2844355"/>
                <a:gd name="connsiteY9" fmla="*/ 81629 h 2250757"/>
                <a:gd name="connsiteX10" fmla="*/ 2798636 w 2844355"/>
                <a:gd name="connsiteY10" fmla="*/ 82391 h 2250757"/>
                <a:gd name="connsiteX11" fmla="*/ 2841022 w 2844355"/>
                <a:gd name="connsiteY11" fmla="*/ 98393 h 2250757"/>
                <a:gd name="connsiteX12" fmla="*/ 2796159 w 2844355"/>
                <a:gd name="connsiteY12" fmla="*/ 116872 h 2250757"/>
                <a:gd name="connsiteX13" fmla="*/ 2758059 w 2844355"/>
                <a:gd name="connsiteY13" fmla="*/ 117539 h 2250757"/>
                <a:gd name="connsiteX14" fmla="*/ 2592896 w 2844355"/>
                <a:gd name="connsiteY14" fmla="*/ 241363 h 2250757"/>
                <a:gd name="connsiteX15" fmla="*/ 2839117 w 2844355"/>
                <a:gd name="connsiteY15" fmla="*/ 257270 h 2250757"/>
                <a:gd name="connsiteX16" fmla="*/ 2841212 w 2844355"/>
                <a:gd name="connsiteY16" fmla="*/ 280511 h 2250757"/>
                <a:gd name="connsiteX17" fmla="*/ 2617280 w 2844355"/>
                <a:gd name="connsiteY17" fmla="*/ 279654 h 2250757"/>
                <a:gd name="connsiteX18" fmla="*/ 2540508 w 2844355"/>
                <a:gd name="connsiteY18" fmla="*/ 323850 h 2250757"/>
                <a:gd name="connsiteX19" fmla="*/ 2494026 w 2844355"/>
                <a:gd name="connsiteY19" fmla="*/ 408623 h 2250757"/>
                <a:gd name="connsiteX20" fmla="*/ 2564892 w 2844355"/>
                <a:gd name="connsiteY20" fmla="*/ 408623 h 2250757"/>
                <a:gd name="connsiteX21" fmla="*/ 2802541 w 2844355"/>
                <a:gd name="connsiteY21" fmla="*/ 409194 h 2250757"/>
                <a:gd name="connsiteX22" fmla="*/ 2844356 w 2844355"/>
                <a:gd name="connsiteY22" fmla="*/ 421958 h 2250757"/>
                <a:gd name="connsiteX23" fmla="*/ 2839974 w 2844355"/>
                <a:gd name="connsiteY23" fmla="*/ 442436 h 2250757"/>
                <a:gd name="connsiteX24" fmla="*/ 2723864 w 2844355"/>
                <a:gd name="connsiteY24" fmla="*/ 442436 h 2250757"/>
                <a:gd name="connsiteX25" fmla="*/ 2514791 w 2844355"/>
                <a:gd name="connsiteY25" fmla="*/ 441674 h 2250757"/>
                <a:gd name="connsiteX26" fmla="*/ 2451354 w 2844355"/>
                <a:gd name="connsiteY26" fmla="*/ 478155 h 2250757"/>
                <a:gd name="connsiteX27" fmla="*/ 2395919 w 2844355"/>
                <a:gd name="connsiteY27" fmla="*/ 574262 h 2250757"/>
                <a:gd name="connsiteX28" fmla="*/ 2773394 w 2844355"/>
                <a:gd name="connsiteY28" fmla="*/ 575024 h 2250757"/>
                <a:gd name="connsiteX29" fmla="*/ 2840069 w 2844355"/>
                <a:gd name="connsiteY29" fmla="*/ 589788 h 2250757"/>
                <a:gd name="connsiteX30" fmla="*/ 2773394 w 2844355"/>
                <a:gd name="connsiteY30" fmla="*/ 605218 h 2250757"/>
                <a:gd name="connsiteX31" fmla="*/ 2421731 w 2844355"/>
                <a:gd name="connsiteY31" fmla="*/ 605218 h 2250757"/>
                <a:gd name="connsiteX32" fmla="*/ 2350199 w 2844355"/>
                <a:gd name="connsiteY32" fmla="*/ 645414 h 2250757"/>
                <a:gd name="connsiteX33" fmla="*/ 2294954 w 2844355"/>
                <a:gd name="connsiteY33" fmla="*/ 736378 h 2250757"/>
                <a:gd name="connsiteX34" fmla="*/ 2611755 w 2844355"/>
                <a:gd name="connsiteY34" fmla="*/ 736378 h 2250757"/>
                <a:gd name="connsiteX35" fmla="*/ 2806637 w 2844355"/>
                <a:gd name="connsiteY35" fmla="*/ 737140 h 2250757"/>
                <a:gd name="connsiteX36" fmla="*/ 2839784 w 2844355"/>
                <a:gd name="connsiteY36" fmla="*/ 752475 h 2250757"/>
                <a:gd name="connsiteX37" fmla="*/ 2806065 w 2844355"/>
                <a:gd name="connsiteY37" fmla="*/ 767334 h 2250757"/>
                <a:gd name="connsiteX38" fmla="*/ 2335530 w 2844355"/>
                <a:gd name="connsiteY38" fmla="*/ 767334 h 2250757"/>
                <a:gd name="connsiteX39" fmla="*/ 2241137 w 2844355"/>
                <a:gd name="connsiteY39" fmla="*/ 818864 h 2250757"/>
                <a:gd name="connsiteX40" fmla="*/ 2190655 w 2844355"/>
                <a:gd name="connsiteY40" fmla="*/ 898493 h 2250757"/>
                <a:gd name="connsiteX41" fmla="*/ 2837688 w 2844355"/>
                <a:gd name="connsiteY41" fmla="*/ 898493 h 2250757"/>
                <a:gd name="connsiteX42" fmla="*/ 2842736 w 2844355"/>
                <a:gd name="connsiteY42" fmla="*/ 917543 h 2250757"/>
                <a:gd name="connsiteX43" fmla="*/ 2799969 w 2844355"/>
                <a:gd name="connsiteY43" fmla="*/ 932974 h 2250757"/>
                <a:gd name="connsiteX44" fmla="*/ 2429256 w 2844355"/>
                <a:gd name="connsiteY44" fmla="*/ 933736 h 2250757"/>
                <a:gd name="connsiteX45" fmla="*/ 2210657 w 2844355"/>
                <a:gd name="connsiteY45" fmla="*/ 932974 h 2250757"/>
                <a:gd name="connsiteX46" fmla="*/ 2141696 w 2844355"/>
                <a:gd name="connsiteY46" fmla="*/ 971074 h 2250757"/>
                <a:gd name="connsiteX47" fmla="*/ 2081308 w 2844355"/>
                <a:gd name="connsiteY47" fmla="*/ 1063276 h 2250757"/>
                <a:gd name="connsiteX48" fmla="*/ 2768918 w 2844355"/>
                <a:gd name="connsiteY48" fmla="*/ 1063276 h 2250757"/>
                <a:gd name="connsiteX49" fmla="*/ 2797493 w 2844355"/>
                <a:gd name="connsiteY49" fmla="*/ 1063276 h 2250757"/>
                <a:gd name="connsiteX50" fmla="*/ 2839974 w 2844355"/>
                <a:gd name="connsiteY50" fmla="*/ 1079659 h 2250757"/>
                <a:gd name="connsiteX51" fmla="*/ 2795206 w 2844355"/>
                <a:gd name="connsiteY51" fmla="*/ 1097947 h 2250757"/>
                <a:gd name="connsiteX52" fmla="*/ 2434019 w 2844355"/>
                <a:gd name="connsiteY52" fmla="*/ 1098804 h 2250757"/>
                <a:gd name="connsiteX53" fmla="*/ 2096548 w 2844355"/>
                <a:gd name="connsiteY53" fmla="*/ 1098233 h 2250757"/>
                <a:gd name="connsiteX54" fmla="*/ 2034254 w 2844355"/>
                <a:gd name="connsiteY54" fmla="*/ 1129665 h 2250757"/>
                <a:gd name="connsiteX55" fmla="*/ 1288447 w 2844355"/>
                <a:gd name="connsiteY55" fmla="*/ 2127218 h 2250757"/>
                <a:gd name="connsiteX56" fmla="*/ 1221772 w 2844355"/>
                <a:gd name="connsiteY56" fmla="*/ 2184940 h 2250757"/>
                <a:gd name="connsiteX57" fmla="*/ 1232154 w 2844355"/>
                <a:gd name="connsiteY57" fmla="*/ 2250758 h 2250757"/>
                <a:gd name="connsiteX58" fmla="*/ 83344 w 2844355"/>
                <a:gd name="connsiteY58" fmla="*/ 2250758 h 2250757"/>
                <a:gd name="connsiteX59" fmla="*/ 83344 w 2844355"/>
                <a:gd name="connsiteY59" fmla="*/ 2192655 h 2250757"/>
                <a:gd name="connsiteX60" fmla="*/ 1169194 w 2844355"/>
                <a:gd name="connsiteY60" fmla="*/ 2192655 h 2250757"/>
                <a:gd name="connsiteX61" fmla="*/ 1189863 w 2844355"/>
                <a:gd name="connsiteY61" fmla="*/ 2027587 h 2250757"/>
                <a:gd name="connsiteX62" fmla="*/ 1493806 w 2844355"/>
                <a:gd name="connsiteY62" fmla="*/ 1528667 h 2250757"/>
                <a:gd name="connsiteX63" fmla="*/ 1753267 w 2844355"/>
                <a:gd name="connsiteY63" fmla="*/ 1141952 h 2250757"/>
                <a:gd name="connsiteX64" fmla="*/ 1781080 w 2844355"/>
                <a:gd name="connsiteY64" fmla="*/ 1098804 h 2250757"/>
                <a:gd name="connsiteX65" fmla="*/ 70199 w 2844355"/>
                <a:gd name="connsiteY65" fmla="*/ 1098804 h 2250757"/>
                <a:gd name="connsiteX66" fmla="*/ 32099 w 2844355"/>
                <a:gd name="connsiteY66" fmla="*/ 1097852 h 2250757"/>
                <a:gd name="connsiteX67" fmla="*/ 13621 w 2844355"/>
                <a:gd name="connsiteY67" fmla="*/ 1082421 h 2250757"/>
                <a:gd name="connsiteX68" fmla="*/ 33814 w 2844355"/>
                <a:gd name="connsiteY68" fmla="*/ 1063847 h 2250757"/>
                <a:gd name="connsiteX69" fmla="*/ 71914 w 2844355"/>
                <a:gd name="connsiteY69" fmla="*/ 1062895 h 2250757"/>
                <a:gd name="connsiteX70" fmla="*/ 1744980 w 2844355"/>
                <a:gd name="connsiteY70" fmla="*/ 1064038 h 2250757"/>
                <a:gd name="connsiteX71" fmla="*/ 1844326 w 2844355"/>
                <a:gd name="connsiteY71" fmla="*/ 1011555 h 2250757"/>
                <a:gd name="connsiteX72" fmla="*/ 1895666 w 2844355"/>
                <a:gd name="connsiteY72" fmla="*/ 933736 h 2250757"/>
                <a:gd name="connsiteX73" fmla="*/ 1830515 w 2844355"/>
                <a:gd name="connsiteY73" fmla="*/ 933736 h 2250757"/>
                <a:gd name="connsiteX74" fmla="*/ 62484 w 2844355"/>
                <a:gd name="connsiteY74" fmla="*/ 933069 h 2250757"/>
                <a:gd name="connsiteX75" fmla="*/ 15716 w 2844355"/>
                <a:gd name="connsiteY75" fmla="*/ 899922 h 2250757"/>
                <a:gd name="connsiteX76" fmla="*/ 71818 w 2844355"/>
                <a:gd name="connsiteY76" fmla="*/ 899922 h 2250757"/>
                <a:gd name="connsiteX77" fmla="*/ 1858899 w 2844355"/>
                <a:gd name="connsiteY77" fmla="*/ 900970 h 2250757"/>
                <a:gd name="connsiteX78" fmla="*/ 1958340 w 2844355"/>
                <a:gd name="connsiteY78" fmla="*/ 848963 h 2250757"/>
                <a:gd name="connsiteX79" fmla="*/ 2013204 w 2844355"/>
                <a:gd name="connsiteY79" fmla="*/ 768001 h 2250757"/>
                <a:gd name="connsiteX80" fmla="*/ 1948720 w 2844355"/>
                <a:gd name="connsiteY80" fmla="*/ 768001 h 2250757"/>
                <a:gd name="connsiteX81" fmla="*/ 66580 w 2844355"/>
                <a:gd name="connsiteY81" fmla="*/ 767334 h 2250757"/>
                <a:gd name="connsiteX82" fmla="*/ 14097 w 2844355"/>
                <a:gd name="connsiteY82" fmla="*/ 752666 h 2250757"/>
                <a:gd name="connsiteX83" fmla="*/ 65722 w 2844355"/>
                <a:gd name="connsiteY83" fmla="*/ 737044 h 2250757"/>
                <a:gd name="connsiteX84" fmla="*/ 1971675 w 2844355"/>
                <a:gd name="connsiteY84" fmla="*/ 737521 h 2250757"/>
                <a:gd name="connsiteX85" fmla="*/ 2075879 w 2844355"/>
                <a:gd name="connsiteY85" fmla="*/ 684085 h 2250757"/>
                <a:gd name="connsiteX86" fmla="*/ 2129409 w 2844355"/>
                <a:gd name="connsiteY86" fmla="*/ 606076 h 2250757"/>
                <a:gd name="connsiteX87" fmla="*/ 79343 w 2844355"/>
                <a:gd name="connsiteY87" fmla="*/ 606076 h 2250757"/>
                <a:gd name="connsiteX88" fmla="*/ 50768 w 2844355"/>
                <a:gd name="connsiteY88" fmla="*/ 605600 h 2250757"/>
                <a:gd name="connsiteX89" fmla="*/ 13811 w 2844355"/>
                <a:gd name="connsiteY89" fmla="*/ 589407 h 2250757"/>
                <a:gd name="connsiteX90" fmla="*/ 52388 w 2844355"/>
                <a:gd name="connsiteY90" fmla="*/ 575119 h 2250757"/>
                <a:gd name="connsiteX91" fmla="*/ 1084421 w 2844355"/>
                <a:gd name="connsiteY91" fmla="*/ 573976 h 2250757"/>
                <a:gd name="connsiteX92" fmla="*/ 2091976 w 2844355"/>
                <a:gd name="connsiteY92" fmla="*/ 575310 h 2250757"/>
                <a:gd name="connsiteX93" fmla="*/ 2192464 w 2844355"/>
                <a:gd name="connsiteY93" fmla="*/ 522637 h 2250757"/>
                <a:gd name="connsiteX94" fmla="*/ 2249043 w 2844355"/>
                <a:gd name="connsiteY94" fmla="*/ 443293 h 2250757"/>
                <a:gd name="connsiteX95" fmla="*/ 0 w 2844355"/>
                <a:gd name="connsiteY95" fmla="*/ 443293 h 2250757"/>
                <a:gd name="connsiteX96" fmla="*/ 33338 w 2844355"/>
                <a:gd name="connsiteY96" fmla="*/ 409670 h 2250757"/>
                <a:gd name="connsiteX97" fmla="*/ 75819 w 2844355"/>
                <a:gd name="connsiteY97" fmla="*/ 408337 h 2250757"/>
                <a:gd name="connsiteX98" fmla="*/ 2195608 w 2844355"/>
                <a:gd name="connsiteY98" fmla="*/ 409670 h 2250757"/>
                <a:gd name="connsiteX99" fmla="*/ 2323624 w 2844355"/>
                <a:gd name="connsiteY99" fmla="*/ 345281 h 2250757"/>
                <a:gd name="connsiteX100" fmla="*/ 2370392 w 2844355"/>
                <a:gd name="connsiteY100" fmla="*/ 282321 h 2250757"/>
                <a:gd name="connsiteX101" fmla="*/ 19240 w 2844355"/>
                <a:gd name="connsiteY101" fmla="*/ 282321 h 2250757"/>
                <a:gd name="connsiteX102" fmla="*/ 11049 w 2844355"/>
                <a:gd name="connsiteY102" fmla="*/ 270605 h 2250757"/>
                <a:gd name="connsiteX103" fmla="*/ 34671 w 2844355"/>
                <a:gd name="connsiteY103" fmla="*/ 247650 h 2250757"/>
                <a:gd name="connsiteX104" fmla="*/ 77152 w 2844355"/>
                <a:gd name="connsiteY104" fmla="*/ 246412 h 2250757"/>
                <a:gd name="connsiteX105" fmla="*/ 2325053 w 2844355"/>
                <a:gd name="connsiteY105" fmla="*/ 247555 h 2250757"/>
                <a:gd name="connsiteX106" fmla="*/ 2443353 w 2844355"/>
                <a:gd name="connsiteY106" fmla="*/ 190405 h 2250757"/>
                <a:gd name="connsiteX107" fmla="*/ 2499836 w 2844355"/>
                <a:gd name="connsiteY107" fmla="*/ 118110 h 225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2844355" h="2250757">
                  <a:moveTo>
                    <a:pt x="2499836" y="118110"/>
                  </a:moveTo>
                  <a:lnTo>
                    <a:pt x="20860" y="118110"/>
                  </a:lnTo>
                  <a:lnTo>
                    <a:pt x="10668" y="106489"/>
                  </a:lnTo>
                  <a:cubicBezTo>
                    <a:pt x="19145" y="98107"/>
                    <a:pt x="26194" y="86201"/>
                    <a:pt x="36385" y="82296"/>
                  </a:cubicBezTo>
                  <a:cubicBezTo>
                    <a:pt x="46577" y="78391"/>
                    <a:pt x="61341" y="81248"/>
                    <a:pt x="74486" y="81248"/>
                  </a:cubicBezTo>
                  <a:cubicBezTo>
                    <a:pt x="874586" y="81248"/>
                    <a:pt x="1674686" y="81439"/>
                    <a:pt x="2474786" y="81820"/>
                  </a:cubicBezTo>
                  <a:cubicBezTo>
                    <a:pt x="2513457" y="81820"/>
                    <a:pt x="2546604" y="78105"/>
                    <a:pt x="2568702" y="42577"/>
                  </a:cubicBezTo>
                  <a:cubicBezTo>
                    <a:pt x="2571135" y="38540"/>
                    <a:pt x="2574626" y="35245"/>
                    <a:pt x="2578798" y="33052"/>
                  </a:cubicBezTo>
                  <a:cubicBezTo>
                    <a:pt x="2604230" y="21717"/>
                    <a:pt x="2630043" y="10954"/>
                    <a:pt x="2655665" y="0"/>
                  </a:cubicBezTo>
                  <a:cubicBezTo>
                    <a:pt x="2664143" y="24860"/>
                    <a:pt x="2672525" y="49625"/>
                    <a:pt x="2683288" y="81629"/>
                  </a:cubicBezTo>
                  <a:cubicBezTo>
                    <a:pt x="2713482" y="81629"/>
                    <a:pt x="2756154" y="80200"/>
                    <a:pt x="2798636" y="82391"/>
                  </a:cubicBezTo>
                  <a:cubicBezTo>
                    <a:pt x="2812923" y="83058"/>
                    <a:pt x="2827211" y="92773"/>
                    <a:pt x="2841022" y="98393"/>
                  </a:cubicBezTo>
                  <a:cubicBezTo>
                    <a:pt x="2826568" y="105703"/>
                    <a:pt x="2811569" y="111881"/>
                    <a:pt x="2796159" y="116872"/>
                  </a:cubicBezTo>
                  <a:cubicBezTo>
                    <a:pt x="2783533" y="118639"/>
                    <a:pt x="2770739" y="118863"/>
                    <a:pt x="2758059" y="117539"/>
                  </a:cubicBezTo>
                  <a:cubicBezTo>
                    <a:pt x="2633567" y="117538"/>
                    <a:pt x="2633567" y="117538"/>
                    <a:pt x="2592896" y="241363"/>
                  </a:cubicBezTo>
                  <a:cubicBezTo>
                    <a:pt x="2675096" y="246412"/>
                    <a:pt x="2757106" y="250888"/>
                    <a:pt x="2839117" y="257270"/>
                  </a:cubicBezTo>
                  <a:cubicBezTo>
                    <a:pt x="2840369" y="264957"/>
                    <a:pt x="2841069" y="272724"/>
                    <a:pt x="2841212" y="280511"/>
                  </a:cubicBezTo>
                  <a:cubicBezTo>
                    <a:pt x="2765012" y="280511"/>
                    <a:pt x="2691194" y="282511"/>
                    <a:pt x="2617280" y="279654"/>
                  </a:cubicBezTo>
                  <a:cubicBezTo>
                    <a:pt x="2579846" y="278130"/>
                    <a:pt x="2555081" y="286798"/>
                    <a:pt x="2540508" y="323850"/>
                  </a:cubicBezTo>
                  <a:cubicBezTo>
                    <a:pt x="2530126" y="349853"/>
                    <a:pt x="2513647" y="373380"/>
                    <a:pt x="2494026" y="408623"/>
                  </a:cubicBezTo>
                  <a:lnTo>
                    <a:pt x="2564892" y="408623"/>
                  </a:lnTo>
                  <a:cubicBezTo>
                    <a:pt x="2644140" y="408623"/>
                    <a:pt x="2723388" y="407956"/>
                    <a:pt x="2802541" y="409194"/>
                  </a:cubicBezTo>
                  <a:cubicBezTo>
                    <a:pt x="2816543" y="409194"/>
                    <a:pt x="2830449" y="417481"/>
                    <a:pt x="2844356" y="421958"/>
                  </a:cubicBezTo>
                  <a:cubicBezTo>
                    <a:pt x="2842927" y="428816"/>
                    <a:pt x="2841498" y="435578"/>
                    <a:pt x="2839974" y="442436"/>
                  </a:cubicBezTo>
                  <a:lnTo>
                    <a:pt x="2723864" y="442436"/>
                  </a:lnTo>
                  <a:cubicBezTo>
                    <a:pt x="2654141" y="442436"/>
                    <a:pt x="2584418" y="444055"/>
                    <a:pt x="2514791" y="441674"/>
                  </a:cubicBezTo>
                  <a:cubicBezTo>
                    <a:pt x="2483549" y="440531"/>
                    <a:pt x="2464975" y="449770"/>
                    <a:pt x="2451354" y="478155"/>
                  </a:cubicBezTo>
                  <a:cubicBezTo>
                    <a:pt x="2436781" y="508921"/>
                    <a:pt x="2417445" y="537496"/>
                    <a:pt x="2395919" y="574262"/>
                  </a:cubicBezTo>
                  <a:cubicBezTo>
                    <a:pt x="2527554" y="574262"/>
                    <a:pt x="2650427" y="573500"/>
                    <a:pt x="2773394" y="575024"/>
                  </a:cubicBezTo>
                  <a:cubicBezTo>
                    <a:pt x="2795778" y="575024"/>
                    <a:pt x="2818162" y="584549"/>
                    <a:pt x="2840069" y="589788"/>
                  </a:cubicBezTo>
                  <a:cubicBezTo>
                    <a:pt x="2817971" y="595122"/>
                    <a:pt x="2795873" y="604837"/>
                    <a:pt x="2773394" y="605218"/>
                  </a:cubicBezTo>
                  <a:cubicBezTo>
                    <a:pt x="2656142" y="606743"/>
                    <a:pt x="2538889" y="607314"/>
                    <a:pt x="2421731" y="605218"/>
                  </a:cubicBezTo>
                  <a:cubicBezTo>
                    <a:pt x="2387156" y="604552"/>
                    <a:pt x="2365629" y="613982"/>
                    <a:pt x="2350199" y="645414"/>
                  </a:cubicBezTo>
                  <a:cubicBezTo>
                    <a:pt x="2335911" y="674560"/>
                    <a:pt x="2316575" y="701230"/>
                    <a:pt x="2294954" y="736378"/>
                  </a:cubicBezTo>
                  <a:lnTo>
                    <a:pt x="2611755" y="736378"/>
                  </a:lnTo>
                  <a:cubicBezTo>
                    <a:pt x="2676716" y="736378"/>
                    <a:pt x="2741676" y="735616"/>
                    <a:pt x="2806637" y="737140"/>
                  </a:cubicBezTo>
                  <a:cubicBezTo>
                    <a:pt x="2817781" y="737140"/>
                    <a:pt x="2828735" y="747141"/>
                    <a:pt x="2839784" y="752475"/>
                  </a:cubicBezTo>
                  <a:cubicBezTo>
                    <a:pt x="2828544" y="757618"/>
                    <a:pt x="2817305" y="767239"/>
                    <a:pt x="2806065" y="767334"/>
                  </a:cubicBezTo>
                  <a:cubicBezTo>
                    <a:pt x="2649188" y="768286"/>
                    <a:pt x="2492312" y="769810"/>
                    <a:pt x="2335530" y="767334"/>
                  </a:cubicBezTo>
                  <a:cubicBezTo>
                    <a:pt x="2290667" y="766477"/>
                    <a:pt x="2260473" y="776383"/>
                    <a:pt x="2241137" y="818864"/>
                  </a:cubicBezTo>
                  <a:cubicBezTo>
                    <a:pt x="2229422" y="844391"/>
                    <a:pt x="2211038" y="866966"/>
                    <a:pt x="2190655" y="898493"/>
                  </a:cubicBezTo>
                  <a:lnTo>
                    <a:pt x="2837688" y="898493"/>
                  </a:lnTo>
                  <a:cubicBezTo>
                    <a:pt x="2839307" y="904970"/>
                    <a:pt x="2841022" y="911447"/>
                    <a:pt x="2842736" y="917543"/>
                  </a:cubicBezTo>
                  <a:cubicBezTo>
                    <a:pt x="2828449" y="922973"/>
                    <a:pt x="2814161" y="932878"/>
                    <a:pt x="2799969" y="932974"/>
                  </a:cubicBezTo>
                  <a:cubicBezTo>
                    <a:pt x="2676144" y="934212"/>
                    <a:pt x="2552795" y="933736"/>
                    <a:pt x="2429256" y="933736"/>
                  </a:cubicBezTo>
                  <a:cubicBezTo>
                    <a:pt x="2356390" y="933736"/>
                    <a:pt x="2283428" y="935260"/>
                    <a:pt x="2210657" y="932974"/>
                  </a:cubicBezTo>
                  <a:cubicBezTo>
                    <a:pt x="2178082" y="931926"/>
                    <a:pt x="2157413" y="942499"/>
                    <a:pt x="2141696" y="971074"/>
                  </a:cubicBezTo>
                  <a:cubicBezTo>
                    <a:pt x="2125980" y="999649"/>
                    <a:pt x="2105692" y="1026414"/>
                    <a:pt x="2081308" y="1063276"/>
                  </a:cubicBezTo>
                  <a:lnTo>
                    <a:pt x="2768918" y="1063276"/>
                  </a:lnTo>
                  <a:cubicBezTo>
                    <a:pt x="2778404" y="1062064"/>
                    <a:pt x="2788006" y="1062064"/>
                    <a:pt x="2797493" y="1063276"/>
                  </a:cubicBezTo>
                  <a:cubicBezTo>
                    <a:pt x="2811939" y="1067964"/>
                    <a:pt x="2826121" y="1073433"/>
                    <a:pt x="2839974" y="1079659"/>
                  </a:cubicBezTo>
                  <a:cubicBezTo>
                    <a:pt x="2825020" y="1086041"/>
                    <a:pt x="2810161" y="1097756"/>
                    <a:pt x="2795206" y="1097947"/>
                  </a:cubicBezTo>
                  <a:cubicBezTo>
                    <a:pt x="2674811" y="1099471"/>
                    <a:pt x="2554414" y="1098804"/>
                    <a:pt x="2434019" y="1098804"/>
                  </a:cubicBezTo>
                  <a:cubicBezTo>
                    <a:pt x="2321528" y="1098804"/>
                    <a:pt x="2209038" y="1099566"/>
                    <a:pt x="2096548" y="1098233"/>
                  </a:cubicBezTo>
                  <a:cubicBezTo>
                    <a:pt x="2071564" y="1096362"/>
                    <a:pt x="2047593" y="1108458"/>
                    <a:pt x="2034254" y="1129665"/>
                  </a:cubicBezTo>
                  <a:cubicBezTo>
                    <a:pt x="1786604" y="1463040"/>
                    <a:pt x="1538002" y="1795558"/>
                    <a:pt x="1288447" y="2127218"/>
                  </a:cubicBezTo>
                  <a:cubicBezTo>
                    <a:pt x="1271587" y="2149602"/>
                    <a:pt x="1245489" y="2165318"/>
                    <a:pt x="1221772" y="2184940"/>
                  </a:cubicBezTo>
                  <a:cubicBezTo>
                    <a:pt x="1224248" y="2200180"/>
                    <a:pt x="1227868" y="2223516"/>
                    <a:pt x="1232154" y="2250758"/>
                  </a:cubicBezTo>
                  <a:lnTo>
                    <a:pt x="83344" y="2250758"/>
                  </a:lnTo>
                  <a:lnTo>
                    <a:pt x="83344" y="2192655"/>
                  </a:lnTo>
                  <a:lnTo>
                    <a:pt x="1169194" y="2192655"/>
                  </a:lnTo>
                  <a:cubicBezTo>
                    <a:pt x="1150725" y="2137342"/>
                    <a:pt x="1158327" y="2076639"/>
                    <a:pt x="1189863" y="2027587"/>
                  </a:cubicBezTo>
                  <a:cubicBezTo>
                    <a:pt x="1289876" y="1860518"/>
                    <a:pt x="1389888" y="1693164"/>
                    <a:pt x="1493806" y="1528667"/>
                  </a:cubicBezTo>
                  <a:cubicBezTo>
                    <a:pt x="1576864" y="1397603"/>
                    <a:pt x="1666589" y="1270730"/>
                    <a:pt x="1753267" y="1141952"/>
                  </a:cubicBezTo>
                  <a:cubicBezTo>
                    <a:pt x="1760982" y="1130427"/>
                    <a:pt x="1768316" y="1118616"/>
                    <a:pt x="1781080" y="1098804"/>
                  </a:cubicBezTo>
                  <a:lnTo>
                    <a:pt x="70199" y="1098804"/>
                  </a:lnTo>
                  <a:cubicBezTo>
                    <a:pt x="57500" y="1099792"/>
                    <a:pt x="44733" y="1099473"/>
                    <a:pt x="32099" y="1097852"/>
                  </a:cubicBezTo>
                  <a:cubicBezTo>
                    <a:pt x="25241" y="1096423"/>
                    <a:pt x="19812" y="1087850"/>
                    <a:pt x="13621" y="1082421"/>
                  </a:cubicBezTo>
                  <a:cubicBezTo>
                    <a:pt x="20288" y="1075944"/>
                    <a:pt x="26003" y="1065943"/>
                    <a:pt x="33814" y="1063847"/>
                  </a:cubicBezTo>
                  <a:cubicBezTo>
                    <a:pt x="46418" y="1061869"/>
                    <a:pt x="59227" y="1061548"/>
                    <a:pt x="71914" y="1062895"/>
                  </a:cubicBezTo>
                  <a:cubicBezTo>
                    <a:pt x="629603" y="1062895"/>
                    <a:pt x="1187291" y="1062228"/>
                    <a:pt x="1744980" y="1064038"/>
                  </a:cubicBezTo>
                  <a:cubicBezTo>
                    <a:pt x="1791367" y="1064038"/>
                    <a:pt x="1822990" y="1053751"/>
                    <a:pt x="1844326" y="1011555"/>
                  </a:cubicBezTo>
                  <a:cubicBezTo>
                    <a:pt x="1856804" y="986885"/>
                    <a:pt x="1874806" y="964978"/>
                    <a:pt x="1895666" y="933736"/>
                  </a:cubicBezTo>
                  <a:lnTo>
                    <a:pt x="1830515" y="933736"/>
                  </a:lnTo>
                  <a:cubicBezTo>
                    <a:pt x="1241235" y="933736"/>
                    <a:pt x="651891" y="933514"/>
                    <a:pt x="62484" y="933069"/>
                  </a:cubicBezTo>
                  <a:cubicBezTo>
                    <a:pt x="44005" y="933069"/>
                    <a:pt x="9620" y="948880"/>
                    <a:pt x="15716" y="899922"/>
                  </a:cubicBezTo>
                  <a:lnTo>
                    <a:pt x="71818" y="899922"/>
                  </a:lnTo>
                  <a:cubicBezTo>
                    <a:pt x="667512" y="899922"/>
                    <a:pt x="1263206" y="900271"/>
                    <a:pt x="1858899" y="900970"/>
                  </a:cubicBezTo>
                  <a:cubicBezTo>
                    <a:pt x="1905095" y="900970"/>
                    <a:pt x="1936718" y="891445"/>
                    <a:pt x="1958340" y="848963"/>
                  </a:cubicBezTo>
                  <a:cubicBezTo>
                    <a:pt x="1971675" y="822960"/>
                    <a:pt x="1991106" y="800100"/>
                    <a:pt x="2013204" y="768001"/>
                  </a:cubicBezTo>
                  <a:lnTo>
                    <a:pt x="1948720" y="768001"/>
                  </a:lnTo>
                  <a:cubicBezTo>
                    <a:pt x="1321340" y="768001"/>
                    <a:pt x="693960" y="767779"/>
                    <a:pt x="66580" y="767334"/>
                  </a:cubicBezTo>
                  <a:cubicBezTo>
                    <a:pt x="49054" y="767334"/>
                    <a:pt x="31623" y="757809"/>
                    <a:pt x="14097" y="752666"/>
                  </a:cubicBezTo>
                  <a:cubicBezTo>
                    <a:pt x="31337" y="747236"/>
                    <a:pt x="48482" y="737140"/>
                    <a:pt x="65722" y="737044"/>
                  </a:cubicBezTo>
                  <a:cubicBezTo>
                    <a:pt x="701040" y="736283"/>
                    <a:pt x="1336358" y="736441"/>
                    <a:pt x="1971675" y="737521"/>
                  </a:cubicBezTo>
                  <a:cubicBezTo>
                    <a:pt x="2019300" y="737521"/>
                    <a:pt x="2052542" y="726376"/>
                    <a:pt x="2075879" y="684085"/>
                  </a:cubicBezTo>
                  <a:cubicBezTo>
                    <a:pt x="2089309" y="659701"/>
                    <a:pt x="2107406" y="637794"/>
                    <a:pt x="2129409" y="606076"/>
                  </a:cubicBezTo>
                  <a:lnTo>
                    <a:pt x="79343" y="606076"/>
                  </a:lnTo>
                  <a:cubicBezTo>
                    <a:pt x="69839" y="607179"/>
                    <a:pt x="60230" y="607019"/>
                    <a:pt x="50768" y="605600"/>
                  </a:cubicBezTo>
                  <a:cubicBezTo>
                    <a:pt x="38093" y="601055"/>
                    <a:pt x="25745" y="595645"/>
                    <a:pt x="13811" y="589407"/>
                  </a:cubicBezTo>
                  <a:cubicBezTo>
                    <a:pt x="26670" y="584454"/>
                    <a:pt x="39529" y="575119"/>
                    <a:pt x="52388" y="575119"/>
                  </a:cubicBezTo>
                  <a:cubicBezTo>
                    <a:pt x="396304" y="573976"/>
                    <a:pt x="740315" y="573595"/>
                    <a:pt x="1084421" y="573976"/>
                  </a:cubicBezTo>
                  <a:cubicBezTo>
                    <a:pt x="1420273" y="573976"/>
                    <a:pt x="1756124" y="572834"/>
                    <a:pt x="2091976" y="575310"/>
                  </a:cubicBezTo>
                  <a:cubicBezTo>
                    <a:pt x="2139601" y="575310"/>
                    <a:pt x="2169509" y="562737"/>
                    <a:pt x="2192464" y="522637"/>
                  </a:cubicBezTo>
                  <a:cubicBezTo>
                    <a:pt x="2207133" y="497015"/>
                    <a:pt x="2226755" y="474154"/>
                    <a:pt x="2249043" y="443293"/>
                  </a:cubicBezTo>
                  <a:lnTo>
                    <a:pt x="0" y="443293"/>
                  </a:lnTo>
                  <a:cubicBezTo>
                    <a:pt x="17812" y="424243"/>
                    <a:pt x="24193" y="412433"/>
                    <a:pt x="33338" y="409670"/>
                  </a:cubicBezTo>
                  <a:cubicBezTo>
                    <a:pt x="46387" y="405575"/>
                    <a:pt x="61913" y="408337"/>
                    <a:pt x="75819" y="408337"/>
                  </a:cubicBezTo>
                  <a:cubicBezTo>
                    <a:pt x="782384" y="408337"/>
                    <a:pt x="1489043" y="407575"/>
                    <a:pt x="2195608" y="409670"/>
                  </a:cubicBezTo>
                  <a:cubicBezTo>
                    <a:pt x="2253806" y="409670"/>
                    <a:pt x="2295811" y="398621"/>
                    <a:pt x="2323624" y="345281"/>
                  </a:cubicBezTo>
                  <a:cubicBezTo>
                    <a:pt x="2334292" y="324802"/>
                    <a:pt x="2351342" y="307181"/>
                    <a:pt x="2370392" y="282321"/>
                  </a:cubicBezTo>
                  <a:lnTo>
                    <a:pt x="19240" y="282321"/>
                  </a:lnTo>
                  <a:lnTo>
                    <a:pt x="11049" y="270605"/>
                  </a:lnTo>
                  <a:cubicBezTo>
                    <a:pt x="18764" y="262604"/>
                    <a:pt x="25336" y="250508"/>
                    <a:pt x="34671" y="247650"/>
                  </a:cubicBezTo>
                  <a:cubicBezTo>
                    <a:pt x="47720" y="243650"/>
                    <a:pt x="63246" y="246412"/>
                    <a:pt x="77152" y="246412"/>
                  </a:cubicBezTo>
                  <a:cubicBezTo>
                    <a:pt x="826452" y="246412"/>
                    <a:pt x="1575752" y="246793"/>
                    <a:pt x="2325053" y="247555"/>
                  </a:cubicBezTo>
                  <a:cubicBezTo>
                    <a:pt x="2377535" y="247555"/>
                    <a:pt x="2416016" y="237173"/>
                    <a:pt x="2443353" y="190405"/>
                  </a:cubicBezTo>
                  <a:cubicBezTo>
                    <a:pt x="2457069" y="167545"/>
                    <a:pt x="2476310" y="147923"/>
                    <a:pt x="2499836" y="11811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26" name="Freihandform: Form 425">
              <a:extLst>
                <a:ext uri="{FF2B5EF4-FFF2-40B4-BE49-F238E27FC236}">
                  <a16:creationId xmlns:a16="http://schemas.microsoft.com/office/drawing/2014/main" id="{9A53A96B-A1B5-2725-F3DA-81F4039FFA88}"/>
                </a:ext>
              </a:extLst>
            </p:cNvPr>
            <p:cNvSpPr/>
            <p:nvPr/>
          </p:nvSpPr>
          <p:spPr>
            <a:xfrm>
              <a:off x="4591240" y="2070739"/>
              <a:ext cx="2836355" cy="32856"/>
            </a:xfrm>
            <a:custGeom>
              <a:avLst/>
              <a:gdLst>
                <a:gd name="connsiteX0" fmla="*/ 0 w 2836355"/>
                <a:gd name="connsiteY0" fmla="*/ 32857 h 32856"/>
                <a:gd name="connsiteX1" fmla="*/ 26765 w 2836355"/>
                <a:gd name="connsiteY1" fmla="*/ 3425 h 32856"/>
                <a:gd name="connsiteX2" fmla="*/ 59626 w 2836355"/>
                <a:gd name="connsiteY2" fmla="*/ 1900 h 32856"/>
                <a:gd name="connsiteX3" fmla="*/ 2786634 w 2836355"/>
                <a:gd name="connsiteY3" fmla="*/ 2472 h 32856"/>
                <a:gd name="connsiteX4" fmla="*/ 2836259 w 2836355"/>
                <a:gd name="connsiteY4" fmla="*/ 32857 h 32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6355" h="32856">
                  <a:moveTo>
                    <a:pt x="0" y="32857"/>
                  </a:moveTo>
                  <a:cubicBezTo>
                    <a:pt x="13049" y="17902"/>
                    <a:pt x="18383" y="6949"/>
                    <a:pt x="26765" y="3425"/>
                  </a:cubicBezTo>
                  <a:cubicBezTo>
                    <a:pt x="35147" y="-100"/>
                    <a:pt x="48577" y="1900"/>
                    <a:pt x="59626" y="1900"/>
                  </a:cubicBezTo>
                  <a:cubicBezTo>
                    <a:pt x="968629" y="1900"/>
                    <a:pt x="1877632" y="2091"/>
                    <a:pt x="2786634" y="2472"/>
                  </a:cubicBezTo>
                  <a:cubicBezTo>
                    <a:pt x="2805684" y="2472"/>
                    <a:pt x="2838355" y="-12863"/>
                    <a:pt x="2836259" y="3285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27" name="Freihandform: Form 426">
              <a:extLst>
                <a:ext uri="{FF2B5EF4-FFF2-40B4-BE49-F238E27FC236}">
                  <a16:creationId xmlns:a16="http://schemas.microsoft.com/office/drawing/2014/main" id="{201C2CAB-8769-256B-0E46-0D29B531E1D0}"/>
                </a:ext>
              </a:extLst>
            </p:cNvPr>
            <p:cNvSpPr/>
            <p:nvPr/>
          </p:nvSpPr>
          <p:spPr>
            <a:xfrm>
              <a:off x="4591144" y="2233635"/>
              <a:ext cx="2840069" cy="32742"/>
            </a:xfrm>
            <a:custGeom>
              <a:avLst/>
              <a:gdLst>
                <a:gd name="connsiteX0" fmla="*/ 2833592 w 2840069"/>
                <a:gd name="connsiteY0" fmla="*/ 32743 h 32742"/>
                <a:gd name="connsiteX1" fmla="*/ 0 w 2840069"/>
                <a:gd name="connsiteY1" fmla="*/ 32743 h 32742"/>
                <a:gd name="connsiteX2" fmla="*/ 29718 w 2840069"/>
                <a:gd name="connsiteY2" fmla="*/ 2167 h 32742"/>
                <a:gd name="connsiteX3" fmla="*/ 62675 w 2840069"/>
                <a:gd name="connsiteY3" fmla="*/ 929 h 32742"/>
                <a:gd name="connsiteX4" fmla="*/ 2784824 w 2840069"/>
                <a:gd name="connsiteY4" fmla="*/ 1405 h 32742"/>
                <a:gd name="connsiteX5" fmla="*/ 2840069 w 2840069"/>
                <a:gd name="connsiteY5" fmla="*/ 13502 h 3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0069" h="32742">
                  <a:moveTo>
                    <a:pt x="2833592" y="32743"/>
                  </a:moveTo>
                  <a:lnTo>
                    <a:pt x="0" y="32743"/>
                  </a:lnTo>
                  <a:cubicBezTo>
                    <a:pt x="14383" y="17312"/>
                    <a:pt x="20574" y="6168"/>
                    <a:pt x="29718" y="2167"/>
                  </a:cubicBezTo>
                  <a:cubicBezTo>
                    <a:pt x="38862" y="-1833"/>
                    <a:pt x="51530" y="929"/>
                    <a:pt x="62675" y="929"/>
                  </a:cubicBezTo>
                  <a:cubicBezTo>
                    <a:pt x="970026" y="929"/>
                    <a:pt x="1877409" y="1088"/>
                    <a:pt x="2784824" y="1405"/>
                  </a:cubicBezTo>
                  <a:cubicBezTo>
                    <a:pt x="2803303" y="1405"/>
                    <a:pt x="2821686" y="9311"/>
                    <a:pt x="2840069" y="135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28" name="Freihandform: Form 427">
              <a:extLst>
                <a:ext uri="{FF2B5EF4-FFF2-40B4-BE49-F238E27FC236}">
                  <a16:creationId xmlns:a16="http://schemas.microsoft.com/office/drawing/2014/main" id="{587CE4A1-8D8D-B002-7982-2F8D458784B2}"/>
                </a:ext>
              </a:extLst>
            </p:cNvPr>
            <p:cNvSpPr/>
            <p:nvPr/>
          </p:nvSpPr>
          <p:spPr>
            <a:xfrm>
              <a:off x="4602113" y="2727959"/>
              <a:ext cx="2830053" cy="33097"/>
            </a:xfrm>
            <a:custGeom>
              <a:avLst/>
              <a:gdLst>
                <a:gd name="connsiteX0" fmla="*/ 2830053 w 2830053"/>
                <a:gd name="connsiteY0" fmla="*/ 9525 h 33097"/>
                <a:gd name="connsiteX1" fmla="*/ 2807955 w 2830053"/>
                <a:gd name="connsiteY1" fmla="*/ 30290 h 33097"/>
                <a:gd name="connsiteX2" fmla="*/ 2774999 w 2830053"/>
                <a:gd name="connsiteY2" fmla="*/ 31528 h 33097"/>
                <a:gd name="connsiteX3" fmla="*/ 47991 w 2830053"/>
                <a:gd name="connsiteY3" fmla="*/ 30956 h 33097"/>
                <a:gd name="connsiteX4" fmla="*/ 366 w 2830053"/>
                <a:gd name="connsiteY4" fmla="*/ 0 h 33097"/>
                <a:gd name="connsiteX5" fmla="*/ 2821290 w 2830053"/>
                <a:gd name="connsiteY5" fmla="*/ 0 h 3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0053" h="33097">
                  <a:moveTo>
                    <a:pt x="2830053" y="9525"/>
                  </a:moveTo>
                  <a:cubicBezTo>
                    <a:pt x="2822814" y="16764"/>
                    <a:pt x="2816718" y="26956"/>
                    <a:pt x="2807955" y="30290"/>
                  </a:cubicBezTo>
                  <a:cubicBezTo>
                    <a:pt x="2797121" y="32583"/>
                    <a:pt x="2785974" y="33002"/>
                    <a:pt x="2774999" y="31528"/>
                  </a:cubicBezTo>
                  <a:cubicBezTo>
                    <a:pt x="1865996" y="31528"/>
                    <a:pt x="956994" y="31337"/>
                    <a:pt x="47991" y="30956"/>
                  </a:cubicBezTo>
                  <a:cubicBezTo>
                    <a:pt x="28941" y="30956"/>
                    <a:pt x="-3825" y="45244"/>
                    <a:pt x="366" y="0"/>
                  </a:cubicBezTo>
                  <a:lnTo>
                    <a:pt x="282129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29" name="Freihandform: Form 428">
              <a:extLst>
                <a:ext uri="{FF2B5EF4-FFF2-40B4-BE49-F238E27FC236}">
                  <a16:creationId xmlns:a16="http://schemas.microsoft.com/office/drawing/2014/main" id="{C2C01A32-1C84-8C9D-186A-89B8C4E3A330}"/>
                </a:ext>
              </a:extLst>
            </p:cNvPr>
            <p:cNvSpPr/>
            <p:nvPr/>
          </p:nvSpPr>
          <p:spPr>
            <a:xfrm>
              <a:off x="4600953" y="2890075"/>
              <a:ext cx="2839975" cy="33428"/>
            </a:xfrm>
            <a:custGeom>
              <a:avLst/>
              <a:gdLst>
                <a:gd name="connsiteX0" fmla="*/ 2839976 w 2839975"/>
                <a:gd name="connsiteY0" fmla="*/ 0 h 33428"/>
                <a:gd name="connsiteX1" fmla="*/ 2809496 w 2839975"/>
                <a:gd name="connsiteY1" fmla="*/ 30004 h 33428"/>
                <a:gd name="connsiteX2" fmla="*/ 2771396 w 2839975"/>
                <a:gd name="connsiteY2" fmla="*/ 31337 h 33428"/>
                <a:gd name="connsiteX3" fmla="*/ 53913 w 2839975"/>
                <a:gd name="connsiteY3" fmla="*/ 30575 h 33428"/>
                <a:gd name="connsiteX4" fmla="*/ 2 w 2839975"/>
                <a:gd name="connsiteY4" fmla="*/ 0 h 3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9975" h="33428">
                  <a:moveTo>
                    <a:pt x="2839976" y="0"/>
                  </a:moveTo>
                  <a:cubicBezTo>
                    <a:pt x="2824069" y="16288"/>
                    <a:pt x="2818068" y="27146"/>
                    <a:pt x="2809496" y="30004"/>
                  </a:cubicBezTo>
                  <a:cubicBezTo>
                    <a:pt x="2796935" y="32360"/>
                    <a:pt x="2784091" y="32810"/>
                    <a:pt x="2771396" y="31337"/>
                  </a:cubicBezTo>
                  <a:cubicBezTo>
                    <a:pt x="1865568" y="31337"/>
                    <a:pt x="959741" y="31083"/>
                    <a:pt x="53913" y="30575"/>
                  </a:cubicBezTo>
                  <a:cubicBezTo>
                    <a:pt x="34863" y="30575"/>
                    <a:pt x="-284" y="47244"/>
                    <a:pt x="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30" name="Freihandform: Form 429">
              <a:extLst>
                <a:ext uri="{FF2B5EF4-FFF2-40B4-BE49-F238E27FC236}">
                  <a16:creationId xmlns:a16="http://schemas.microsoft.com/office/drawing/2014/main" id="{102E0244-9C1B-8FC4-F128-A33E2A1722F8}"/>
                </a:ext>
              </a:extLst>
            </p:cNvPr>
            <p:cNvSpPr/>
            <p:nvPr/>
          </p:nvSpPr>
          <p:spPr>
            <a:xfrm>
              <a:off x="4602146" y="1906471"/>
              <a:ext cx="2824636" cy="37231"/>
            </a:xfrm>
            <a:custGeom>
              <a:avLst/>
              <a:gdLst>
                <a:gd name="connsiteX0" fmla="*/ 1410033 w 2824636"/>
                <a:gd name="connsiteY0" fmla="*/ 36628 h 37231"/>
                <a:gd name="connsiteX1" fmla="*/ 51768 w 2824636"/>
                <a:gd name="connsiteY1" fmla="*/ 36628 h 37231"/>
                <a:gd name="connsiteX2" fmla="*/ 13668 w 2824636"/>
                <a:gd name="connsiteY2" fmla="*/ 35200 h 37231"/>
                <a:gd name="connsiteX3" fmla="*/ 48 w 2824636"/>
                <a:gd name="connsiteY3" fmla="*/ 16150 h 37231"/>
                <a:gd name="connsiteX4" fmla="*/ 13478 w 2824636"/>
                <a:gd name="connsiteY4" fmla="*/ 1957 h 37231"/>
                <a:gd name="connsiteX5" fmla="*/ 46530 w 2824636"/>
                <a:gd name="connsiteY5" fmla="*/ 719 h 37231"/>
                <a:gd name="connsiteX6" fmla="*/ 2777347 w 2824636"/>
                <a:gd name="connsiteY6" fmla="*/ 719 h 37231"/>
                <a:gd name="connsiteX7" fmla="*/ 2810304 w 2824636"/>
                <a:gd name="connsiteY7" fmla="*/ 1957 h 37231"/>
                <a:gd name="connsiteX8" fmla="*/ 2824591 w 2824636"/>
                <a:gd name="connsiteY8" fmla="*/ 21007 h 37231"/>
                <a:gd name="connsiteX9" fmla="*/ 2810494 w 2824636"/>
                <a:gd name="connsiteY9" fmla="*/ 35295 h 37231"/>
                <a:gd name="connsiteX10" fmla="*/ 2772394 w 2824636"/>
                <a:gd name="connsiteY10" fmla="*/ 36438 h 3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4636" h="37231">
                  <a:moveTo>
                    <a:pt x="1410033" y="36628"/>
                  </a:moveTo>
                  <a:lnTo>
                    <a:pt x="51768" y="36628"/>
                  </a:lnTo>
                  <a:cubicBezTo>
                    <a:pt x="39059" y="37770"/>
                    <a:pt x="26256" y="37290"/>
                    <a:pt x="13668" y="35200"/>
                  </a:cubicBezTo>
                  <a:cubicBezTo>
                    <a:pt x="6453" y="31267"/>
                    <a:pt x="1435" y="24249"/>
                    <a:pt x="48" y="16150"/>
                  </a:cubicBezTo>
                  <a:cubicBezTo>
                    <a:pt x="-714" y="12149"/>
                    <a:pt x="7858" y="3291"/>
                    <a:pt x="13478" y="1957"/>
                  </a:cubicBezTo>
                  <a:cubicBezTo>
                    <a:pt x="24413" y="301"/>
                    <a:pt x="35501" y="-115"/>
                    <a:pt x="46530" y="719"/>
                  </a:cubicBezTo>
                  <a:lnTo>
                    <a:pt x="2777347" y="719"/>
                  </a:lnTo>
                  <a:cubicBezTo>
                    <a:pt x="2788331" y="-553"/>
                    <a:pt x="2799446" y="-135"/>
                    <a:pt x="2810304" y="1957"/>
                  </a:cubicBezTo>
                  <a:cubicBezTo>
                    <a:pt x="2817611" y="5926"/>
                    <a:pt x="2822827" y="12881"/>
                    <a:pt x="2824591" y="21007"/>
                  </a:cubicBezTo>
                  <a:cubicBezTo>
                    <a:pt x="2825353" y="24817"/>
                    <a:pt x="2816304" y="34152"/>
                    <a:pt x="2810494" y="35295"/>
                  </a:cubicBezTo>
                  <a:cubicBezTo>
                    <a:pt x="2797856" y="36842"/>
                    <a:pt x="2785103" y="37224"/>
                    <a:pt x="2772394" y="36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31" name="Freihandform: Form 430">
              <a:extLst>
                <a:ext uri="{FF2B5EF4-FFF2-40B4-BE49-F238E27FC236}">
                  <a16:creationId xmlns:a16="http://schemas.microsoft.com/office/drawing/2014/main" id="{FB4F5D33-B68F-781D-7281-44C224CE36AB}"/>
                </a:ext>
              </a:extLst>
            </p:cNvPr>
            <p:cNvSpPr/>
            <p:nvPr/>
          </p:nvSpPr>
          <p:spPr>
            <a:xfrm>
              <a:off x="4602513" y="3049872"/>
              <a:ext cx="2825652" cy="37762"/>
            </a:xfrm>
            <a:custGeom>
              <a:avLst/>
              <a:gdLst>
                <a:gd name="connsiteX0" fmla="*/ 1415000 w 2825652"/>
                <a:gd name="connsiteY0" fmla="*/ 699 h 37762"/>
                <a:gd name="connsiteX1" fmla="*/ 2768503 w 2825652"/>
                <a:gd name="connsiteY1" fmla="*/ 699 h 37762"/>
                <a:gd name="connsiteX2" fmla="*/ 2806603 w 2825652"/>
                <a:gd name="connsiteY2" fmla="*/ 1556 h 37762"/>
                <a:gd name="connsiteX3" fmla="*/ 2825653 w 2825652"/>
                <a:gd name="connsiteY3" fmla="*/ 16891 h 37762"/>
                <a:gd name="connsiteX4" fmla="*/ 2804984 w 2825652"/>
                <a:gd name="connsiteY4" fmla="*/ 35941 h 37762"/>
                <a:gd name="connsiteX5" fmla="*/ 2776409 w 2825652"/>
                <a:gd name="connsiteY5" fmla="*/ 36894 h 37762"/>
                <a:gd name="connsiteX6" fmla="*/ 45972 w 2825652"/>
                <a:gd name="connsiteY6" fmla="*/ 36894 h 37762"/>
                <a:gd name="connsiteX7" fmla="*/ 12920 w 2825652"/>
                <a:gd name="connsiteY7" fmla="*/ 35560 h 37762"/>
                <a:gd name="connsiteX8" fmla="*/ 62 w 2825652"/>
                <a:gd name="connsiteY8" fmla="*/ 20987 h 37762"/>
                <a:gd name="connsiteX9" fmla="*/ 14254 w 2825652"/>
                <a:gd name="connsiteY9" fmla="*/ 1937 h 37762"/>
                <a:gd name="connsiteX10" fmla="*/ 52354 w 2825652"/>
                <a:gd name="connsiteY10" fmla="*/ 603 h 3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25652" h="37762">
                  <a:moveTo>
                    <a:pt x="1415000" y="699"/>
                  </a:moveTo>
                  <a:lnTo>
                    <a:pt x="2768503" y="699"/>
                  </a:lnTo>
                  <a:cubicBezTo>
                    <a:pt x="2781199" y="-328"/>
                    <a:pt x="2793966" y="-41"/>
                    <a:pt x="2806603" y="1556"/>
                  </a:cubicBezTo>
                  <a:cubicBezTo>
                    <a:pt x="2813842" y="3080"/>
                    <a:pt x="2819557" y="11081"/>
                    <a:pt x="2825653" y="16891"/>
                  </a:cubicBezTo>
                  <a:cubicBezTo>
                    <a:pt x="2818795" y="23368"/>
                    <a:pt x="2813080" y="32417"/>
                    <a:pt x="2804984" y="35941"/>
                  </a:cubicBezTo>
                  <a:cubicBezTo>
                    <a:pt x="2795596" y="37991"/>
                    <a:pt x="2785913" y="38313"/>
                    <a:pt x="2776409" y="36894"/>
                  </a:cubicBezTo>
                  <a:lnTo>
                    <a:pt x="45972" y="36894"/>
                  </a:lnTo>
                  <a:cubicBezTo>
                    <a:pt x="34941" y="37744"/>
                    <a:pt x="23847" y="37297"/>
                    <a:pt x="12920" y="35560"/>
                  </a:cubicBezTo>
                  <a:cubicBezTo>
                    <a:pt x="7491" y="34227"/>
                    <a:pt x="-796" y="24988"/>
                    <a:pt x="62" y="20987"/>
                  </a:cubicBezTo>
                  <a:cubicBezTo>
                    <a:pt x="1561" y="12770"/>
                    <a:pt x="6810" y="5725"/>
                    <a:pt x="14254" y="1937"/>
                  </a:cubicBezTo>
                  <a:cubicBezTo>
                    <a:pt x="26851" y="-73"/>
                    <a:pt x="39647" y="-521"/>
                    <a:pt x="52354" y="6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32" name="Freihandform: Form 431">
              <a:extLst>
                <a:ext uri="{FF2B5EF4-FFF2-40B4-BE49-F238E27FC236}">
                  <a16:creationId xmlns:a16="http://schemas.microsoft.com/office/drawing/2014/main" id="{C32BD96C-E199-A378-2416-DB4591B6F451}"/>
                </a:ext>
              </a:extLst>
            </p:cNvPr>
            <p:cNvSpPr/>
            <p:nvPr/>
          </p:nvSpPr>
          <p:spPr>
            <a:xfrm>
              <a:off x="4601431" y="2399653"/>
              <a:ext cx="2826829" cy="32705"/>
            </a:xfrm>
            <a:custGeom>
              <a:avLst/>
              <a:gdLst>
                <a:gd name="connsiteX0" fmla="*/ 1416463 w 2826829"/>
                <a:gd name="connsiteY0" fmla="*/ 32174 h 32705"/>
                <a:gd name="connsiteX1" fmla="*/ 57722 w 2826829"/>
                <a:gd name="connsiteY1" fmla="*/ 32174 h 32705"/>
                <a:gd name="connsiteX2" fmla="*/ 19622 w 2826829"/>
                <a:gd name="connsiteY2" fmla="*/ 31317 h 32705"/>
                <a:gd name="connsiteX3" fmla="*/ 0 w 2826829"/>
                <a:gd name="connsiteY3" fmla="*/ 17124 h 32705"/>
                <a:gd name="connsiteX4" fmla="*/ 18098 w 2826829"/>
                <a:gd name="connsiteY4" fmla="*/ 1503 h 32705"/>
                <a:gd name="connsiteX5" fmla="*/ 51530 w 2826829"/>
                <a:gd name="connsiteY5" fmla="*/ 646 h 32705"/>
                <a:gd name="connsiteX6" fmla="*/ 2773585 w 2826829"/>
                <a:gd name="connsiteY6" fmla="*/ 1313 h 32705"/>
                <a:gd name="connsiteX7" fmla="*/ 2826830 w 2826829"/>
                <a:gd name="connsiteY7" fmla="*/ 15696 h 32705"/>
                <a:gd name="connsiteX8" fmla="*/ 2775204 w 2826829"/>
                <a:gd name="connsiteY8" fmla="*/ 31602 h 32705"/>
                <a:gd name="connsiteX9" fmla="*/ 1416463 w 2826829"/>
                <a:gd name="connsiteY9" fmla="*/ 32174 h 3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6829" h="32705">
                  <a:moveTo>
                    <a:pt x="1416463" y="32174"/>
                  </a:moveTo>
                  <a:lnTo>
                    <a:pt x="57722" y="32174"/>
                  </a:lnTo>
                  <a:cubicBezTo>
                    <a:pt x="45023" y="33101"/>
                    <a:pt x="32265" y="32814"/>
                    <a:pt x="19622" y="31317"/>
                  </a:cubicBezTo>
                  <a:cubicBezTo>
                    <a:pt x="12382" y="29888"/>
                    <a:pt x="6477" y="21792"/>
                    <a:pt x="0" y="17124"/>
                  </a:cubicBezTo>
                  <a:cubicBezTo>
                    <a:pt x="5905" y="11695"/>
                    <a:pt x="11144" y="3313"/>
                    <a:pt x="18098" y="1503"/>
                  </a:cubicBezTo>
                  <a:cubicBezTo>
                    <a:pt x="29164" y="-155"/>
                    <a:pt x="40393" y="-443"/>
                    <a:pt x="51530" y="646"/>
                  </a:cubicBezTo>
                  <a:cubicBezTo>
                    <a:pt x="958882" y="646"/>
                    <a:pt x="1866233" y="868"/>
                    <a:pt x="2773585" y="1313"/>
                  </a:cubicBezTo>
                  <a:cubicBezTo>
                    <a:pt x="2791302" y="1313"/>
                    <a:pt x="2809018" y="10838"/>
                    <a:pt x="2826830" y="15696"/>
                  </a:cubicBezTo>
                  <a:cubicBezTo>
                    <a:pt x="2809589" y="21220"/>
                    <a:pt x="2792349" y="31507"/>
                    <a:pt x="2775204" y="31602"/>
                  </a:cubicBezTo>
                  <a:cubicBezTo>
                    <a:pt x="2322195" y="32428"/>
                    <a:pt x="1869281" y="32619"/>
                    <a:pt x="1416463" y="3217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33" name="Freihandform: Form 432">
              <a:extLst>
                <a:ext uri="{FF2B5EF4-FFF2-40B4-BE49-F238E27FC236}">
                  <a16:creationId xmlns:a16="http://schemas.microsoft.com/office/drawing/2014/main" id="{BF7DA72A-FF09-281A-15D2-64710417996A}"/>
                </a:ext>
              </a:extLst>
            </p:cNvPr>
            <p:cNvSpPr/>
            <p:nvPr/>
          </p:nvSpPr>
          <p:spPr>
            <a:xfrm>
              <a:off x="4601717" y="2561486"/>
              <a:ext cx="2826448" cy="32806"/>
            </a:xfrm>
            <a:custGeom>
              <a:avLst/>
              <a:gdLst>
                <a:gd name="connsiteX0" fmla="*/ 1415987 w 2826448"/>
                <a:gd name="connsiteY0" fmla="*/ 739 h 32806"/>
                <a:gd name="connsiteX1" fmla="*/ 2760440 w 2826448"/>
                <a:gd name="connsiteY1" fmla="*/ 739 h 32806"/>
                <a:gd name="connsiteX2" fmla="*/ 2793492 w 2826448"/>
                <a:gd name="connsiteY2" fmla="*/ 1310 h 32806"/>
                <a:gd name="connsiteX3" fmla="*/ 2826448 w 2826448"/>
                <a:gd name="connsiteY3" fmla="*/ 17217 h 32806"/>
                <a:gd name="connsiteX4" fmla="*/ 2792254 w 2826448"/>
                <a:gd name="connsiteY4" fmla="*/ 31981 h 32806"/>
                <a:gd name="connsiteX5" fmla="*/ 2768632 w 2826448"/>
                <a:gd name="connsiteY5" fmla="*/ 31981 h 32806"/>
                <a:gd name="connsiteX6" fmla="*/ 56007 w 2826448"/>
                <a:gd name="connsiteY6" fmla="*/ 31314 h 32806"/>
                <a:gd name="connsiteX7" fmla="*/ 0 w 2826448"/>
                <a:gd name="connsiteY7" fmla="*/ 15503 h 32806"/>
                <a:gd name="connsiteX8" fmla="*/ 57150 w 2826448"/>
                <a:gd name="connsiteY8" fmla="*/ 1025 h 32806"/>
                <a:gd name="connsiteX9" fmla="*/ 1415987 w 2826448"/>
                <a:gd name="connsiteY9" fmla="*/ 739 h 3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6448" h="32806">
                  <a:moveTo>
                    <a:pt x="1415987" y="739"/>
                  </a:moveTo>
                  <a:lnTo>
                    <a:pt x="2760440" y="739"/>
                  </a:lnTo>
                  <a:cubicBezTo>
                    <a:pt x="2771440" y="-410"/>
                    <a:pt x="2782539" y="-218"/>
                    <a:pt x="2793492" y="1310"/>
                  </a:cubicBezTo>
                  <a:cubicBezTo>
                    <a:pt x="2804996" y="5463"/>
                    <a:pt x="2816040" y="10794"/>
                    <a:pt x="2826448" y="17217"/>
                  </a:cubicBezTo>
                  <a:cubicBezTo>
                    <a:pt x="2815358" y="22823"/>
                    <a:pt x="2803939" y="27753"/>
                    <a:pt x="2792254" y="31981"/>
                  </a:cubicBezTo>
                  <a:cubicBezTo>
                    <a:pt x="2784418" y="33082"/>
                    <a:pt x="2776467" y="33082"/>
                    <a:pt x="2768632" y="31981"/>
                  </a:cubicBezTo>
                  <a:cubicBezTo>
                    <a:pt x="1864392" y="31981"/>
                    <a:pt x="960184" y="31759"/>
                    <a:pt x="56007" y="31314"/>
                  </a:cubicBezTo>
                  <a:cubicBezTo>
                    <a:pt x="36957" y="31314"/>
                    <a:pt x="18669" y="21027"/>
                    <a:pt x="0" y="15503"/>
                  </a:cubicBezTo>
                  <a:cubicBezTo>
                    <a:pt x="19050" y="10454"/>
                    <a:pt x="38100" y="1025"/>
                    <a:pt x="57150" y="1025"/>
                  </a:cubicBezTo>
                  <a:cubicBezTo>
                    <a:pt x="510413" y="390"/>
                    <a:pt x="963358" y="294"/>
                    <a:pt x="1415987" y="7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grpSp>
      <p:sp>
        <p:nvSpPr>
          <p:cNvPr id="434" name="Rechteck 433">
            <a:extLst>
              <a:ext uri="{FF2B5EF4-FFF2-40B4-BE49-F238E27FC236}">
                <a16:creationId xmlns:a16="http://schemas.microsoft.com/office/drawing/2014/main" id="{2BC7563F-2BD7-5E38-80C4-0677860CFA70}"/>
              </a:ext>
            </a:extLst>
          </p:cNvPr>
          <p:cNvSpPr/>
          <p:nvPr/>
        </p:nvSpPr>
        <p:spPr>
          <a:xfrm>
            <a:off x="9024934" y="4575638"/>
            <a:ext cx="998670" cy="692497"/>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Cross-regional</a:t>
            </a:r>
            <a:br>
              <a:rPr kumimoji="0" lang="en-gb" sz="1000" b="0" i="0" u="none" strike="noStrike" kern="1200" cap="none" spc="0" normalizeH="0" baseline="0">
                <a:ln>
                  <a:noFill/>
                </a:ln>
                <a:effectLst/>
                <a:uLnTx/>
                <a:uFillTx/>
                <a:latin typeface="Arial"/>
                <a:ea typeface="MS PGothic"/>
                <a:cs typeface="+mn-cs"/>
              </a:rPr>
            </a:br>
            <a:r>
              <a:rPr kumimoji="0" lang="en-gb" sz="1000" b="0" i="0" u="none" strike="noStrike" kern="1200" cap="none" spc="0" normalizeH="0" baseline="0">
                <a:ln>
                  <a:noFill/>
                </a:ln>
                <a:effectLst/>
                <a:uLnTx/>
                <a:uFillTx/>
                <a:latin typeface="Arial"/>
                <a:ea typeface="MS PGothic"/>
                <a:cs typeface="+mn-cs"/>
              </a:rPr>
              <a:t>APG electric gri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around </a:t>
            </a:r>
            <a:r>
              <a:rPr lang="en-gb" sz="1500" b="1" i="0" u="none" baseline="0">
                <a:latin typeface="Arial"/>
                <a:ea typeface="MS PGothic"/>
              </a:rPr>
              <a:t>3,400 k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effectLst/>
                <a:uLnTx/>
                <a:uFillTx/>
                <a:latin typeface="Arial"/>
                <a:ea typeface="MS PGothic"/>
                <a:cs typeface="+mn-cs"/>
              </a:rPr>
              <a:t>of power lines</a:t>
            </a:r>
            <a:endParaRPr kumimoji="0" lang="en-gb" sz="1000" b="0" i="0" u="none" strike="noStrike" kern="1200" cap="none" spc="0" normalizeH="0" baseline="0" noProof="0" dirty="0">
              <a:ln>
                <a:noFill/>
              </a:ln>
              <a:effectLst/>
              <a:uLnTx/>
              <a:uFillTx/>
              <a:latin typeface="Arial"/>
              <a:ea typeface="MS PGothic"/>
              <a:cs typeface="+mn-cs"/>
            </a:endParaRPr>
          </a:p>
        </p:txBody>
      </p:sp>
      <p:sp>
        <p:nvSpPr>
          <p:cNvPr id="435" name="Rechteck 434">
            <a:extLst>
              <a:ext uri="{FF2B5EF4-FFF2-40B4-BE49-F238E27FC236}">
                <a16:creationId xmlns:a16="http://schemas.microsoft.com/office/drawing/2014/main" id="{EAACAE8A-F682-789E-FD11-F69936A6F0F5}"/>
              </a:ext>
            </a:extLst>
          </p:cNvPr>
          <p:cNvSpPr/>
          <p:nvPr/>
        </p:nvSpPr>
        <p:spPr>
          <a:xfrm>
            <a:off x="7266212" y="5308599"/>
            <a:ext cx="1091646" cy="1000274"/>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
                <a:srgbClr val="00488E"/>
              </a:buClr>
              <a:buSzTx/>
              <a:buFontTx/>
              <a:buNone/>
              <a:tabLst/>
              <a:defRPr/>
            </a:pPr>
            <a:r>
              <a:rPr kumimoji="0" lang="en-gb" sz="1000" b="0" i="0" u="none" strike="noStrike" kern="1200" cap="none" spc="0" normalizeH="0" baseline="0" dirty="0">
                <a:ln>
                  <a:noFill/>
                </a:ln>
                <a:effectLst/>
                <a:uLnTx/>
                <a:uFillTx/>
                <a:latin typeface="Arial"/>
                <a:ea typeface="MS PGothic"/>
                <a:cs typeface="+mn-cs"/>
              </a:rPr>
              <a:t>more than </a:t>
            </a:r>
            <a:r>
              <a:rPr lang="en-gb" sz="1500" b="1" i="0" u="none" baseline="0" dirty="0">
                <a:latin typeface="Arial"/>
                <a:ea typeface="MS PGothic"/>
              </a:rPr>
              <a:t>2,000</a:t>
            </a:r>
            <a:br>
              <a:rPr lang="en-gb" sz="1500" b="1" dirty="0">
                <a:latin typeface="Arial"/>
                <a:ea typeface="MS PGothic"/>
              </a:rPr>
            </a:br>
            <a:r>
              <a:rPr lang="en-gb" sz="1500" b="1" i="0" u="none" baseline="0" dirty="0">
                <a:latin typeface="Arial"/>
                <a:ea typeface="MS PGothic"/>
              </a:rPr>
              <a:t>apprentices</a:t>
            </a:r>
          </a:p>
          <a:p>
            <a:pPr marL="0" marR="0" lvl="0" indent="0" algn="ctr" defTabSz="914400" rtl="0" eaLnBrk="1" fontAlgn="auto" latinLnBrk="0" hangingPunct="1">
              <a:lnSpc>
                <a:spcPct val="100000"/>
              </a:lnSpc>
              <a:spcBef>
                <a:spcPts val="0"/>
              </a:spcBef>
              <a:spcAft>
                <a:spcPts val="0"/>
              </a:spcAft>
              <a:buClr>
                <a:srgbClr val="00488E"/>
              </a:buClr>
              <a:buSzTx/>
              <a:buFontTx/>
              <a:buNone/>
              <a:tabLst/>
              <a:defRPr/>
            </a:pPr>
            <a:r>
              <a:rPr lang="en-gb" sz="1500" b="1" i="0" u="none" baseline="0" dirty="0">
                <a:latin typeface="Arial"/>
                <a:ea typeface="MS PGothic"/>
              </a:rPr>
              <a:t>trained </a:t>
            </a:r>
            <a:br>
              <a:rPr kumimoji="0" lang="en-gb" sz="1600" b="1" i="0" u="none" strike="noStrike" kern="1200" cap="none" spc="0" normalizeH="0" baseline="0" dirty="0">
                <a:ln>
                  <a:noFill/>
                </a:ln>
                <a:effectLst/>
                <a:uLnTx/>
                <a:uFillTx/>
                <a:latin typeface="Arial"/>
                <a:ea typeface="MS PGothic"/>
                <a:cs typeface="+mn-cs"/>
              </a:rPr>
            </a:br>
            <a:r>
              <a:rPr kumimoji="0" lang="en-gb" sz="1000" b="0" i="0" u="none" strike="noStrike" kern="1200" cap="none" spc="0" normalizeH="0" baseline="0" dirty="0">
                <a:ln>
                  <a:noFill/>
                </a:ln>
                <a:effectLst/>
                <a:uLnTx/>
                <a:uFillTx/>
                <a:latin typeface="Arial"/>
                <a:ea typeface="MS PGothic"/>
                <a:cs typeface="+mn-cs"/>
              </a:rPr>
              <a:t>in past </a:t>
            </a:r>
            <a:br>
              <a:rPr kumimoji="0" lang="en-gb" sz="1000" b="0" i="0" u="none" strike="noStrike" kern="1200" cap="none" spc="0" normalizeH="0" baseline="0" dirty="0">
                <a:ln>
                  <a:noFill/>
                </a:ln>
                <a:effectLst/>
                <a:uLnTx/>
                <a:uFillTx/>
                <a:latin typeface="Arial"/>
                <a:ea typeface="MS PGothic"/>
                <a:cs typeface="+mn-cs"/>
              </a:rPr>
            </a:br>
            <a:r>
              <a:rPr kumimoji="0" lang="en-gb" sz="1000" b="0" i="0" u="none" strike="noStrike" kern="1200" cap="none" spc="0" normalizeH="0" baseline="0" dirty="0">
                <a:ln>
                  <a:noFill/>
                </a:ln>
                <a:effectLst/>
                <a:uLnTx/>
                <a:uFillTx/>
                <a:latin typeface="Arial"/>
                <a:ea typeface="MS PGothic"/>
                <a:cs typeface="+mn-cs"/>
              </a:rPr>
              <a:t>70 years </a:t>
            </a:r>
          </a:p>
        </p:txBody>
      </p:sp>
      <p:pic>
        <p:nvPicPr>
          <p:cNvPr id="436" name="Grafik 435">
            <a:extLst>
              <a:ext uri="{FF2B5EF4-FFF2-40B4-BE49-F238E27FC236}">
                <a16:creationId xmlns:a16="http://schemas.microsoft.com/office/drawing/2014/main" id="{C60C5F21-92E0-F269-5D37-66065BE0AD99}"/>
              </a:ext>
            </a:extLst>
          </p:cNvPr>
          <p:cNvPicPr>
            <a:picLocks noChangeAspect="1"/>
          </p:cNvPicPr>
          <p:nvPr/>
        </p:nvPicPr>
        <p:blipFill>
          <a:blip r:embed="rId60" cstate="screen">
            <a:extLst>
              <a:ext uri="{28A0092B-C50C-407E-A947-70E740481C1C}">
                <a14:useLocalDpi xmlns:a14="http://schemas.microsoft.com/office/drawing/2010/main"/>
              </a:ext>
            </a:extLst>
          </a:blip>
          <a:stretch>
            <a:fillRect/>
          </a:stretch>
        </p:blipFill>
        <p:spPr>
          <a:xfrm>
            <a:off x="9299639" y="5498292"/>
            <a:ext cx="449261" cy="568618"/>
          </a:xfrm>
          <a:prstGeom prst="rect">
            <a:avLst/>
          </a:prstGeom>
        </p:spPr>
      </p:pic>
      <p:grpSp>
        <p:nvGrpSpPr>
          <p:cNvPr id="437" name="Grafik 160">
            <a:extLst>
              <a:ext uri="{FF2B5EF4-FFF2-40B4-BE49-F238E27FC236}">
                <a16:creationId xmlns:a16="http://schemas.microsoft.com/office/drawing/2014/main" id="{87FEA666-407B-EB89-2666-2B4753A979C6}"/>
              </a:ext>
            </a:extLst>
          </p:cNvPr>
          <p:cNvGrpSpPr>
            <a:grpSpLocks noChangeAspect="1"/>
          </p:cNvGrpSpPr>
          <p:nvPr/>
        </p:nvGrpSpPr>
        <p:grpSpPr>
          <a:xfrm>
            <a:off x="7638491" y="4610791"/>
            <a:ext cx="347089" cy="764755"/>
            <a:chOff x="5195898" y="1447900"/>
            <a:chExt cx="1798318" cy="3962299"/>
          </a:xfrm>
          <a:solidFill>
            <a:schemeClr val="tx2"/>
          </a:solidFill>
        </p:grpSpPr>
        <p:sp>
          <p:nvSpPr>
            <p:cNvPr id="438" name="Freihandform: Form 437">
              <a:extLst>
                <a:ext uri="{FF2B5EF4-FFF2-40B4-BE49-F238E27FC236}">
                  <a16:creationId xmlns:a16="http://schemas.microsoft.com/office/drawing/2014/main" id="{AF416D1D-1467-5C77-6F05-1FE2591EEFC9}"/>
                </a:ext>
              </a:extLst>
            </p:cNvPr>
            <p:cNvSpPr/>
            <p:nvPr/>
          </p:nvSpPr>
          <p:spPr>
            <a:xfrm>
              <a:off x="5195898" y="2078450"/>
              <a:ext cx="1798318" cy="3331749"/>
            </a:xfrm>
            <a:custGeom>
              <a:avLst/>
              <a:gdLst>
                <a:gd name="connsiteX0" fmla="*/ 1273005 w 1798318"/>
                <a:gd name="connsiteY0" fmla="*/ 3331750 h 3331749"/>
                <a:gd name="connsiteX1" fmla="*/ 958680 w 1798318"/>
                <a:gd name="connsiteY1" fmla="*/ 3331750 h 3331749"/>
                <a:gd name="connsiteX2" fmla="*/ 958680 w 1798318"/>
                <a:gd name="connsiteY2" fmla="*/ 1874425 h 3331749"/>
                <a:gd name="connsiteX3" fmla="*/ 843523 w 1798318"/>
                <a:gd name="connsiteY3" fmla="*/ 1874425 h 3331749"/>
                <a:gd name="connsiteX4" fmla="*/ 843523 w 1798318"/>
                <a:gd name="connsiteY4" fmla="*/ 3331750 h 3331749"/>
                <a:gd name="connsiteX5" fmla="*/ 532341 w 1798318"/>
                <a:gd name="connsiteY5" fmla="*/ 3331750 h 3331749"/>
                <a:gd name="connsiteX6" fmla="*/ 522816 w 1798318"/>
                <a:gd name="connsiteY6" fmla="*/ 3177635 h 3331749"/>
                <a:gd name="connsiteX7" fmla="*/ 480430 w 1798318"/>
                <a:gd name="connsiteY7" fmla="*/ 2395442 h 3331749"/>
                <a:gd name="connsiteX8" fmla="*/ 429852 w 1798318"/>
                <a:gd name="connsiteY8" fmla="*/ 1437989 h 3331749"/>
                <a:gd name="connsiteX9" fmla="*/ 314790 w 1798318"/>
                <a:gd name="connsiteY9" fmla="*/ 1195388 h 3331749"/>
                <a:gd name="connsiteX10" fmla="*/ 44375 w 1798318"/>
                <a:gd name="connsiteY10" fmla="*/ 927640 h 3331749"/>
                <a:gd name="connsiteX11" fmla="*/ 14276 w 1798318"/>
                <a:gd name="connsiteY11" fmla="*/ 775430 h 3331749"/>
                <a:gd name="connsiteX12" fmla="*/ 259354 w 1798318"/>
                <a:gd name="connsiteY12" fmla="*/ 342043 h 3331749"/>
                <a:gd name="connsiteX13" fmla="*/ 492145 w 1798318"/>
                <a:gd name="connsiteY13" fmla="*/ 474250 h 3331749"/>
                <a:gd name="connsiteX14" fmla="*/ 323839 w 1798318"/>
                <a:gd name="connsiteY14" fmla="*/ 768001 h 3331749"/>
                <a:gd name="connsiteX15" fmla="*/ 334030 w 1798318"/>
                <a:gd name="connsiteY15" fmla="*/ 839915 h 3331749"/>
                <a:gd name="connsiteX16" fmla="*/ 508052 w 1798318"/>
                <a:gd name="connsiteY16" fmla="*/ 1013746 h 3331749"/>
                <a:gd name="connsiteX17" fmla="*/ 525197 w 1798318"/>
                <a:gd name="connsiteY17" fmla="*/ 1011460 h 3331749"/>
                <a:gd name="connsiteX18" fmla="*/ 557011 w 1798318"/>
                <a:gd name="connsiteY18" fmla="*/ 800767 h 3331749"/>
                <a:gd name="connsiteX19" fmla="*/ 557582 w 1798318"/>
                <a:gd name="connsiteY19" fmla="*/ 87916 h 3331749"/>
                <a:gd name="connsiteX20" fmla="*/ 604064 w 1798318"/>
                <a:gd name="connsiteY20" fmla="*/ 27242 h 3331749"/>
                <a:gd name="connsiteX21" fmla="*/ 690456 w 1798318"/>
                <a:gd name="connsiteY21" fmla="*/ 5810 h 3331749"/>
                <a:gd name="connsiteX22" fmla="*/ 690456 w 1798318"/>
                <a:gd name="connsiteY22" fmla="*/ 355378 h 3331749"/>
                <a:gd name="connsiteX23" fmla="*/ 1100031 w 1798318"/>
                <a:gd name="connsiteY23" fmla="*/ 355378 h 3331749"/>
                <a:gd name="connsiteX24" fmla="*/ 1100031 w 1798318"/>
                <a:gd name="connsiteY24" fmla="*/ 0 h 3331749"/>
                <a:gd name="connsiteX25" fmla="*/ 1209759 w 1798318"/>
                <a:gd name="connsiteY25" fmla="*/ 30290 h 3331749"/>
                <a:gd name="connsiteX26" fmla="*/ 1231476 w 1798318"/>
                <a:gd name="connsiteY26" fmla="*/ 77915 h 3331749"/>
                <a:gd name="connsiteX27" fmla="*/ 1231476 w 1798318"/>
                <a:gd name="connsiteY27" fmla="*/ 767048 h 3331749"/>
                <a:gd name="connsiteX28" fmla="*/ 1286721 w 1798318"/>
                <a:gd name="connsiteY28" fmla="*/ 1015365 h 3331749"/>
                <a:gd name="connsiteX29" fmla="*/ 1483412 w 1798318"/>
                <a:gd name="connsiteY29" fmla="*/ 817055 h 3331749"/>
                <a:gd name="connsiteX30" fmla="*/ 1477792 w 1798318"/>
                <a:gd name="connsiteY30" fmla="*/ 772668 h 3331749"/>
                <a:gd name="connsiteX31" fmla="*/ 1308152 w 1798318"/>
                <a:gd name="connsiteY31" fmla="*/ 474821 h 3331749"/>
                <a:gd name="connsiteX32" fmla="*/ 1536752 w 1798318"/>
                <a:gd name="connsiteY32" fmla="*/ 343186 h 3331749"/>
                <a:gd name="connsiteX33" fmla="*/ 1558088 w 1798318"/>
                <a:gd name="connsiteY33" fmla="*/ 373856 h 3331749"/>
                <a:gd name="connsiteX34" fmla="*/ 1767733 w 1798318"/>
                <a:gd name="connsiteY34" fmla="*/ 740950 h 3331749"/>
                <a:gd name="connsiteX35" fmla="*/ 1739158 w 1798318"/>
                <a:gd name="connsiteY35" fmla="*/ 943928 h 3331749"/>
                <a:gd name="connsiteX36" fmla="*/ 1413118 w 1798318"/>
                <a:gd name="connsiteY36" fmla="*/ 1270540 h 3331749"/>
                <a:gd name="connsiteX37" fmla="*/ 1386924 w 1798318"/>
                <a:gd name="connsiteY37" fmla="*/ 1321784 h 3331749"/>
                <a:gd name="connsiteX38" fmla="*/ 1320249 w 1798318"/>
                <a:gd name="connsiteY38" fmla="*/ 2516029 h 3331749"/>
                <a:gd name="connsiteX39" fmla="*/ 1279768 w 1798318"/>
                <a:gd name="connsiteY39" fmla="*/ 3288792 h 3331749"/>
                <a:gd name="connsiteX40" fmla="*/ 1273005 w 1798318"/>
                <a:gd name="connsiteY40" fmla="*/ 3331750 h 333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98318" h="3331749">
                  <a:moveTo>
                    <a:pt x="1273005" y="3331750"/>
                  </a:moveTo>
                  <a:lnTo>
                    <a:pt x="958680" y="3331750"/>
                  </a:lnTo>
                  <a:lnTo>
                    <a:pt x="958680" y="1874425"/>
                  </a:lnTo>
                  <a:lnTo>
                    <a:pt x="843523" y="1874425"/>
                  </a:lnTo>
                  <a:lnTo>
                    <a:pt x="843523" y="3331750"/>
                  </a:lnTo>
                  <a:lnTo>
                    <a:pt x="532341" y="3331750"/>
                  </a:lnTo>
                  <a:cubicBezTo>
                    <a:pt x="529198" y="3280601"/>
                    <a:pt x="525769" y="3229166"/>
                    <a:pt x="522816" y="3177635"/>
                  </a:cubicBezTo>
                  <a:cubicBezTo>
                    <a:pt x="508655" y="2916965"/>
                    <a:pt x="494527" y="2656237"/>
                    <a:pt x="480430" y="2395442"/>
                  </a:cubicBezTo>
                  <a:cubicBezTo>
                    <a:pt x="462808" y="2076355"/>
                    <a:pt x="439377" y="1757267"/>
                    <a:pt x="429852" y="1437989"/>
                  </a:cubicBezTo>
                  <a:cubicBezTo>
                    <a:pt x="426709" y="1333214"/>
                    <a:pt x="388990" y="1262253"/>
                    <a:pt x="314790" y="1195388"/>
                  </a:cubicBezTo>
                  <a:cubicBezTo>
                    <a:pt x="220588" y="1110710"/>
                    <a:pt x="133815" y="1017556"/>
                    <a:pt x="44375" y="927640"/>
                  </a:cubicBezTo>
                  <a:cubicBezTo>
                    <a:pt x="941" y="883825"/>
                    <a:pt x="-13632" y="826675"/>
                    <a:pt x="14276" y="775430"/>
                  </a:cubicBezTo>
                  <a:cubicBezTo>
                    <a:pt x="93143" y="631412"/>
                    <a:pt x="175630" y="489680"/>
                    <a:pt x="259354" y="342043"/>
                  </a:cubicBezTo>
                  <a:lnTo>
                    <a:pt x="492145" y="474250"/>
                  </a:lnTo>
                  <a:cubicBezTo>
                    <a:pt x="435186" y="574453"/>
                    <a:pt x="380989" y="672370"/>
                    <a:pt x="323839" y="768001"/>
                  </a:cubicBezTo>
                  <a:cubicBezTo>
                    <a:pt x="305360" y="798671"/>
                    <a:pt x="308980" y="816293"/>
                    <a:pt x="334030" y="839915"/>
                  </a:cubicBezTo>
                  <a:cubicBezTo>
                    <a:pt x="393562" y="896207"/>
                    <a:pt x="450235" y="955548"/>
                    <a:pt x="508052" y="1013746"/>
                  </a:cubicBezTo>
                  <a:lnTo>
                    <a:pt x="525197" y="1011460"/>
                  </a:lnTo>
                  <a:cubicBezTo>
                    <a:pt x="536342" y="941261"/>
                    <a:pt x="555772" y="871157"/>
                    <a:pt x="557011" y="800767"/>
                  </a:cubicBezTo>
                  <a:cubicBezTo>
                    <a:pt x="561011" y="563213"/>
                    <a:pt x="559297" y="325565"/>
                    <a:pt x="557582" y="87916"/>
                  </a:cubicBezTo>
                  <a:cubicBezTo>
                    <a:pt x="557582" y="51435"/>
                    <a:pt x="566345" y="32480"/>
                    <a:pt x="604064" y="27242"/>
                  </a:cubicBezTo>
                  <a:cubicBezTo>
                    <a:pt x="633231" y="21679"/>
                    <a:pt x="662072" y="14525"/>
                    <a:pt x="690456" y="5810"/>
                  </a:cubicBezTo>
                  <a:lnTo>
                    <a:pt x="690456" y="355378"/>
                  </a:lnTo>
                  <a:lnTo>
                    <a:pt x="1100031" y="355378"/>
                  </a:lnTo>
                  <a:lnTo>
                    <a:pt x="1100031" y="0"/>
                  </a:lnTo>
                  <a:cubicBezTo>
                    <a:pt x="1140703" y="10477"/>
                    <a:pt x="1177183" y="15907"/>
                    <a:pt x="1209759" y="30290"/>
                  </a:cubicBezTo>
                  <a:cubicBezTo>
                    <a:pt x="1222046" y="35719"/>
                    <a:pt x="1231381" y="61722"/>
                    <a:pt x="1231476" y="77915"/>
                  </a:cubicBezTo>
                  <a:cubicBezTo>
                    <a:pt x="1232809" y="307658"/>
                    <a:pt x="1235191" y="537401"/>
                    <a:pt x="1231476" y="767048"/>
                  </a:cubicBezTo>
                  <a:cubicBezTo>
                    <a:pt x="1230352" y="852992"/>
                    <a:pt x="1249269" y="938003"/>
                    <a:pt x="1286721" y="1015365"/>
                  </a:cubicBezTo>
                  <a:cubicBezTo>
                    <a:pt x="1353396" y="948690"/>
                    <a:pt x="1420071" y="884206"/>
                    <a:pt x="1483412" y="817055"/>
                  </a:cubicBezTo>
                  <a:cubicBezTo>
                    <a:pt x="1490080" y="810006"/>
                    <a:pt x="1484746" y="785241"/>
                    <a:pt x="1477792" y="772668"/>
                  </a:cubicBezTo>
                  <a:cubicBezTo>
                    <a:pt x="1423214" y="674465"/>
                    <a:pt x="1366826" y="577310"/>
                    <a:pt x="1308152" y="474821"/>
                  </a:cubicBezTo>
                  <a:lnTo>
                    <a:pt x="1536752" y="343186"/>
                  </a:lnTo>
                  <a:cubicBezTo>
                    <a:pt x="1544563" y="354235"/>
                    <a:pt x="1552183" y="363569"/>
                    <a:pt x="1558088" y="373856"/>
                  </a:cubicBezTo>
                  <a:cubicBezTo>
                    <a:pt x="1628068" y="496224"/>
                    <a:pt x="1697944" y="618582"/>
                    <a:pt x="1767733" y="740950"/>
                  </a:cubicBezTo>
                  <a:cubicBezTo>
                    <a:pt x="1815358" y="825246"/>
                    <a:pt x="1808500" y="874300"/>
                    <a:pt x="1739158" y="943928"/>
                  </a:cubicBezTo>
                  <a:cubicBezTo>
                    <a:pt x="1630288" y="1052608"/>
                    <a:pt x="1521036" y="1160907"/>
                    <a:pt x="1413118" y="1270540"/>
                  </a:cubicBezTo>
                  <a:cubicBezTo>
                    <a:pt x="1398992" y="1284284"/>
                    <a:pt x="1389791" y="1302287"/>
                    <a:pt x="1386924" y="1321784"/>
                  </a:cubicBezTo>
                  <a:cubicBezTo>
                    <a:pt x="1363683" y="1719805"/>
                    <a:pt x="1341461" y="2117884"/>
                    <a:pt x="1320249" y="2516029"/>
                  </a:cubicBezTo>
                  <a:cubicBezTo>
                    <a:pt x="1306342" y="2773680"/>
                    <a:pt x="1293388" y="3031236"/>
                    <a:pt x="1279768" y="3288792"/>
                  </a:cubicBezTo>
                  <a:cubicBezTo>
                    <a:pt x="1278720" y="3302603"/>
                    <a:pt x="1275386" y="3316415"/>
                    <a:pt x="1273005" y="3331750"/>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sp>
          <p:nvSpPr>
            <p:cNvPr id="439" name="Freihandform: Form 438">
              <a:extLst>
                <a:ext uri="{FF2B5EF4-FFF2-40B4-BE49-F238E27FC236}">
                  <a16:creationId xmlns:a16="http://schemas.microsoft.com/office/drawing/2014/main" id="{D344239B-AF1F-1C6F-C947-FB56A39AA04F}"/>
                </a:ext>
              </a:extLst>
            </p:cNvPr>
            <p:cNvSpPr/>
            <p:nvPr/>
          </p:nvSpPr>
          <p:spPr>
            <a:xfrm>
              <a:off x="5791652" y="1447900"/>
              <a:ext cx="652104" cy="488532"/>
            </a:xfrm>
            <a:custGeom>
              <a:avLst/>
              <a:gdLst>
                <a:gd name="connsiteX0" fmla="*/ 643342 w 652104"/>
                <a:gd name="connsiteY0" fmla="*/ 488532 h 488532"/>
                <a:gd name="connsiteX1" fmla="*/ 445794 w 652104"/>
                <a:gd name="connsiteY1" fmla="*/ 434144 h 488532"/>
                <a:gd name="connsiteX2" fmla="*/ 31647 w 652104"/>
                <a:gd name="connsiteY2" fmla="*/ 246788 h 488532"/>
                <a:gd name="connsiteX3" fmla="*/ 5643 w 652104"/>
                <a:gd name="connsiteY3" fmla="*/ 185637 h 488532"/>
                <a:gd name="connsiteX4" fmla="*/ 314730 w 652104"/>
                <a:gd name="connsiteY4" fmla="*/ 3424 h 488532"/>
                <a:gd name="connsiteX5" fmla="*/ 541901 w 652104"/>
                <a:gd name="connsiteY5" fmla="*/ 276125 h 488532"/>
                <a:gd name="connsiteX6" fmla="*/ 594955 w 652104"/>
                <a:gd name="connsiteY6" fmla="*/ 408332 h 488532"/>
                <a:gd name="connsiteX7" fmla="*/ 652105 w 652104"/>
                <a:gd name="connsiteY7" fmla="*/ 469863 h 48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2104" h="488532">
                  <a:moveTo>
                    <a:pt x="643342" y="488532"/>
                  </a:moveTo>
                  <a:cubicBezTo>
                    <a:pt x="577239" y="470911"/>
                    <a:pt x="508278" y="459957"/>
                    <a:pt x="445794" y="434144"/>
                  </a:cubicBezTo>
                  <a:cubicBezTo>
                    <a:pt x="306062" y="375566"/>
                    <a:pt x="170045" y="308414"/>
                    <a:pt x="31647" y="246788"/>
                  </a:cubicBezTo>
                  <a:cubicBezTo>
                    <a:pt x="309" y="232786"/>
                    <a:pt x="-6453" y="218213"/>
                    <a:pt x="5643" y="185637"/>
                  </a:cubicBezTo>
                  <a:cubicBezTo>
                    <a:pt x="51928" y="58873"/>
                    <a:pt x="181405" y="-17456"/>
                    <a:pt x="314730" y="3424"/>
                  </a:cubicBezTo>
                  <a:cubicBezTo>
                    <a:pt x="447984" y="24855"/>
                    <a:pt x="547235" y="138584"/>
                    <a:pt x="541901" y="276125"/>
                  </a:cubicBezTo>
                  <a:cubicBezTo>
                    <a:pt x="539710" y="332703"/>
                    <a:pt x="555617" y="372232"/>
                    <a:pt x="594955" y="408332"/>
                  </a:cubicBezTo>
                  <a:cubicBezTo>
                    <a:pt x="615434" y="427382"/>
                    <a:pt x="633055" y="449194"/>
                    <a:pt x="652105" y="469863"/>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75756"/>
                </a:solidFill>
                <a:effectLst/>
                <a:uLnTx/>
                <a:uFillTx/>
                <a:latin typeface="Arial"/>
                <a:ea typeface="MS PGothic"/>
                <a:cs typeface="+mn-cs"/>
              </a:endParaRPr>
            </a:p>
          </p:txBody>
        </p:sp>
      </p:grpSp>
      <p:sp>
        <p:nvSpPr>
          <p:cNvPr id="440" name="Textfeld 439">
            <a:extLst>
              <a:ext uri="{FF2B5EF4-FFF2-40B4-BE49-F238E27FC236}">
                <a16:creationId xmlns:a16="http://schemas.microsoft.com/office/drawing/2014/main" id="{11089ED0-7FA7-24B2-1CCE-FB26E983E388}"/>
              </a:ext>
            </a:extLst>
          </p:cNvPr>
          <p:cNvSpPr txBox="1"/>
          <p:nvPr/>
        </p:nvSpPr>
        <p:spPr>
          <a:xfrm>
            <a:off x="10665834" y="5271446"/>
            <a:ext cx="1141338" cy="765531"/>
          </a:xfrm>
          <a:prstGeom prst="rect">
            <a:avLst/>
          </a:prstGeom>
          <a:noFill/>
        </p:spPr>
        <p:txBody>
          <a:bodyPr wrap="none" lIns="0" tIns="0" rIns="0" bIns="0" rtlCol="0">
            <a:spAutoFit/>
          </a:bodyPr>
          <a:lstStyle/>
          <a:p>
            <a:pPr algn="ctr" rtl="0">
              <a:lnSpc>
                <a:spcPct val="110000"/>
              </a:lnSpc>
            </a:pPr>
            <a:r>
              <a:rPr lang="en-gb" sz="1500" b="1" i="0" u="none" baseline="0">
                <a:latin typeface="Arial"/>
                <a:ea typeface="MS PGothic"/>
              </a:rPr>
              <a:t>900 km</a:t>
            </a:r>
            <a:br>
              <a:rPr lang="en-gb" sz="1600" b="1"/>
            </a:br>
            <a:r>
              <a:rPr lang="en-gb" sz="1000" b="0" i="0" u="none" baseline="0"/>
              <a:t>high-pressure natural gas</a:t>
            </a:r>
            <a:br>
              <a:rPr lang="en-gb" sz="1000"/>
            </a:br>
            <a:r>
              <a:rPr lang="en-gb" sz="1000" b="0" i="0" u="none" baseline="0"/>
              <a:t>pipeline of</a:t>
            </a:r>
            <a:br>
              <a:rPr lang="en-gb" sz="1000"/>
            </a:br>
            <a:r>
              <a:rPr lang="en-gb" sz="1000" b="0" i="0" u="none" baseline="0"/>
              <a:t>GasConnect Austria</a:t>
            </a:r>
          </a:p>
        </p:txBody>
      </p:sp>
    </p:spTree>
    <p:extLst>
      <p:ext uri="{BB962C8B-B14F-4D97-AF65-F5344CB8AC3E}">
        <p14:creationId xmlns:p14="http://schemas.microsoft.com/office/powerpoint/2010/main" val="4012824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A34FEA7-6525-FAEF-D6B7-8A911A58700E}"/>
              </a:ext>
            </a:extLst>
          </p:cNvPr>
          <p:cNvSpPr>
            <a:spLocks noGrp="1"/>
          </p:cNvSpPr>
          <p:nvPr>
            <p:ph type="title"/>
          </p:nvPr>
        </p:nvSpPr>
        <p:spPr>
          <a:xfrm>
            <a:off x="196981" y="188913"/>
            <a:ext cx="11811517" cy="730148"/>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US" dirty="0">
                <a:solidFill>
                  <a:schemeClr val="bg1"/>
                </a:solidFill>
              </a:rPr>
              <a:t>Hydropower in Europe – actual Status</a:t>
            </a:r>
            <a:br>
              <a:rPr lang="de-AT" dirty="0">
                <a:solidFill>
                  <a:schemeClr val="bg1"/>
                </a:solidFill>
              </a:rPr>
            </a:br>
            <a:r>
              <a:rPr lang="en-US" altLang="de-DE" dirty="0">
                <a:solidFill>
                  <a:schemeClr val="bg1"/>
                </a:solidFill>
              </a:rPr>
              <a:t>
</a:t>
            </a:r>
            <a:br>
              <a:rPr lang="de-AT" dirty="0">
                <a:solidFill>
                  <a:schemeClr val="bg1"/>
                </a:solidFill>
              </a:rPr>
            </a:br>
            <a:endParaRPr lang="de-AT" dirty="0">
              <a:solidFill>
                <a:schemeClr val="bg1"/>
              </a:solidFill>
            </a:endParaRPr>
          </a:p>
        </p:txBody>
      </p:sp>
      <p:sp>
        <p:nvSpPr>
          <p:cNvPr id="12" name="Inhaltsplatzhalter 1">
            <a:extLst>
              <a:ext uri="{FF2B5EF4-FFF2-40B4-BE49-F238E27FC236}">
                <a16:creationId xmlns:a16="http://schemas.microsoft.com/office/drawing/2014/main" id="{B268614F-E660-B08B-6D21-884F1339090D}"/>
              </a:ext>
            </a:extLst>
          </p:cNvPr>
          <p:cNvSpPr txBox="1">
            <a:spLocks/>
          </p:cNvSpPr>
          <p:nvPr/>
        </p:nvSpPr>
        <p:spPr>
          <a:xfrm>
            <a:off x="560439" y="1333053"/>
            <a:ext cx="5728394" cy="3492801"/>
          </a:xfrm>
        </p:spPr>
        <p:txBody>
          <a:bodyPr/>
          <a:lstStyle>
            <a:lvl1pPr marL="342900" indent="-342900" algn="l" rtl="0" eaLnBrk="0" fontAlgn="base" hangingPunct="0">
              <a:spcBef>
                <a:spcPct val="20000"/>
              </a:spcBef>
              <a:spcAft>
                <a:spcPct val="0"/>
              </a:spcAft>
              <a:buChar char="•"/>
              <a:defRPr sz="1867">
                <a:solidFill>
                  <a:schemeClr val="tx1"/>
                </a:solidFill>
                <a:latin typeface="+mn-lt"/>
                <a:ea typeface="+mn-ea"/>
                <a:cs typeface="+mn-cs"/>
              </a:defRPr>
            </a:lvl1pPr>
            <a:lvl2pPr marL="742950" indent="-285750" algn="l" rtl="0" eaLnBrk="0" fontAlgn="base" hangingPunct="0">
              <a:spcBef>
                <a:spcPct val="20000"/>
              </a:spcBef>
              <a:spcAft>
                <a:spcPct val="0"/>
              </a:spcAft>
              <a:buChar char="–"/>
              <a:defRPr sz="1867">
                <a:solidFill>
                  <a:schemeClr val="tx1"/>
                </a:solidFill>
                <a:latin typeface="+mn-lt"/>
              </a:defRPr>
            </a:lvl2pPr>
            <a:lvl3pPr marL="1143000" indent="-228600" algn="l" rtl="0" eaLnBrk="0" fontAlgn="base" hangingPunct="0">
              <a:spcBef>
                <a:spcPct val="20000"/>
              </a:spcBef>
              <a:spcAft>
                <a:spcPct val="0"/>
              </a:spcAft>
              <a:buChar char="•"/>
              <a:defRPr sz="1867">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285750" lvl="2" indent="-285750" defTabSz="1219140">
              <a:spcBef>
                <a:spcPts val="0"/>
              </a:spcBef>
              <a:spcAft>
                <a:spcPts val="600"/>
              </a:spcAft>
              <a:tabLst>
                <a:tab pos="950162" algn="l"/>
              </a:tabLst>
              <a:defRPr/>
            </a:pPr>
            <a:r>
              <a:rPr lang="en-US" sz="1400" dirty="0"/>
              <a:t>2021 the generation from Hydropower within the European Union (EU) was nearly 350 </a:t>
            </a:r>
            <a:r>
              <a:rPr lang="en-US" sz="1400" dirty="0" err="1"/>
              <a:t>TWh</a:t>
            </a:r>
            <a:r>
              <a:rPr lang="en-US" sz="1400" dirty="0"/>
              <a:t>/a pure generation plants (run-of-river and reservoir storage) and almost 30 </a:t>
            </a:r>
            <a:r>
              <a:rPr lang="en-US" sz="1400" dirty="0" err="1"/>
              <a:t>TWh</a:t>
            </a:r>
            <a:r>
              <a:rPr lang="en-US" sz="1400" dirty="0"/>
              <a:t> from pumped storage </a:t>
            </a:r>
            <a:r>
              <a:rPr lang="en-US" sz="1400" baseline="30000" dirty="0"/>
              <a:t>(1)</a:t>
            </a:r>
            <a:r>
              <a:rPr lang="en-US" sz="1400" dirty="0"/>
              <a:t> </a:t>
            </a:r>
          </a:p>
          <a:p>
            <a:pPr marL="285750" lvl="2" indent="-285750" defTabSz="1219140">
              <a:spcBef>
                <a:spcPts val="0"/>
              </a:spcBef>
              <a:spcAft>
                <a:spcPts val="600"/>
              </a:spcAft>
              <a:tabLst>
                <a:tab pos="950162" algn="l"/>
              </a:tabLst>
              <a:defRPr/>
            </a:pPr>
            <a:r>
              <a:rPr lang="en-US" sz="1400" dirty="0"/>
              <a:t>These two forms of hydropower generation provide about 34% of the electricity generated from renewable energy sources and about 13% of the gross electricity generation of EU27 in 2021 </a:t>
            </a:r>
            <a:r>
              <a:rPr lang="en-US" sz="1400" baseline="30000" dirty="0"/>
              <a:t>(1)</a:t>
            </a:r>
            <a:r>
              <a:rPr lang="en-US" sz="1400" dirty="0"/>
              <a:t> </a:t>
            </a:r>
          </a:p>
          <a:p>
            <a:pPr marL="285750" lvl="2" indent="-285750" defTabSz="1219140">
              <a:spcBef>
                <a:spcPts val="0"/>
              </a:spcBef>
              <a:spcAft>
                <a:spcPts val="600"/>
              </a:spcAft>
              <a:tabLst>
                <a:tab pos="950162" algn="l"/>
              </a:tabLst>
              <a:defRPr/>
            </a:pPr>
            <a:r>
              <a:rPr lang="en-US" sz="1400" dirty="0"/>
              <a:t>The technically feasible potential was estimated for EU27 with app. 650 </a:t>
            </a:r>
            <a:r>
              <a:rPr lang="en-US" sz="1400" dirty="0" err="1"/>
              <a:t>TWh</a:t>
            </a:r>
            <a:r>
              <a:rPr lang="en-US" sz="1400" dirty="0"/>
              <a:t>/a </a:t>
            </a:r>
            <a:r>
              <a:rPr lang="en-US" sz="1400" baseline="30000" dirty="0"/>
              <a:t>(2)</a:t>
            </a:r>
            <a:r>
              <a:rPr lang="en-US" sz="1400" dirty="0"/>
              <a:t>. In practice social, economic, environmental and regulatory factors must be taken into consideration</a:t>
            </a:r>
          </a:p>
          <a:p>
            <a:pPr marL="285750" lvl="2" indent="-285750" defTabSz="1219140">
              <a:spcBef>
                <a:spcPts val="0"/>
              </a:spcBef>
              <a:spcAft>
                <a:spcPts val="600"/>
              </a:spcAft>
              <a:tabLst>
                <a:tab pos="950162" algn="l"/>
              </a:tabLst>
              <a:defRPr/>
            </a:pPr>
            <a:r>
              <a:rPr lang="en-US" sz="1400" dirty="0"/>
              <a:t>Additionally, there is an additional potential for pumped storage in the Alpine regions</a:t>
            </a:r>
          </a:p>
          <a:p>
            <a:pPr marL="285750" lvl="2" indent="-285750" defTabSz="1219140">
              <a:spcBef>
                <a:spcPts val="0"/>
              </a:spcBef>
              <a:spcAft>
                <a:spcPts val="600"/>
              </a:spcAft>
              <a:tabLst>
                <a:tab pos="950162" algn="l"/>
              </a:tabLst>
              <a:defRPr/>
            </a:pPr>
            <a:endParaRPr lang="en-US" sz="1400" dirty="0">
              <a:cs typeface="Arial" panose="020B0604020202020204" pitchFamily="34" charset="0"/>
            </a:endParaRPr>
          </a:p>
          <a:p>
            <a:pPr marL="228600" lvl="2" defTabSz="1219140">
              <a:spcBef>
                <a:spcPts val="0"/>
              </a:spcBef>
              <a:spcAft>
                <a:spcPts val="600"/>
              </a:spcAft>
              <a:buAutoNum type="arabicParenBoth"/>
              <a:tabLst>
                <a:tab pos="950162" algn="l"/>
              </a:tabLst>
              <a:defRPr/>
            </a:pPr>
            <a:r>
              <a:rPr lang="en-US" sz="1200" dirty="0">
                <a:cs typeface="Arial" panose="020B0604020202020204" pitchFamily="34" charset="0"/>
              </a:rPr>
              <a:t>Source: </a:t>
            </a:r>
            <a:r>
              <a:rPr lang="en-US" sz="1200" dirty="0" err="1">
                <a:cs typeface="Arial" panose="020B0604020202020204" pitchFamily="34" charset="0"/>
              </a:rPr>
              <a:t>vgbe</a:t>
            </a:r>
            <a:r>
              <a:rPr lang="en-US" sz="1200" dirty="0">
                <a:cs typeface="Arial" panose="020B0604020202020204" pitchFamily="34" charset="0"/>
              </a:rPr>
              <a:t> (Hydropower in Europe Facts and Figures)</a:t>
            </a:r>
          </a:p>
          <a:p>
            <a:pPr marL="228600" lvl="2" defTabSz="1219140">
              <a:spcBef>
                <a:spcPts val="0"/>
              </a:spcBef>
              <a:spcAft>
                <a:spcPts val="600"/>
              </a:spcAft>
              <a:buAutoNum type="arabicParenBoth"/>
              <a:tabLst>
                <a:tab pos="950162" algn="l"/>
              </a:tabLst>
              <a:defRPr/>
            </a:pPr>
            <a:r>
              <a:rPr lang="en-US" sz="1200" dirty="0">
                <a:cs typeface="Arial" panose="020B0604020202020204" pitchFamily="34" charset="0"/>
              </a:rPr>
              <a:t>Source: </a:t>
            </a:r>
            <a:r>
              <a:rPr lang="en-US" sz="1200" dirty="0"/>
              <a:t>Hydropower &amp; Dams World Atlas, 2022</a:t>
            </a:r>
            <a:endParaRPr lang="en-US" sz="1200" dirty="0">
              <a:cs typeface="Arial" panose="020B0604020202020204" pitchFamily="34" charset="0"/>
            </a:endParaRPr>
          </a:p>
          <a:p>
            <a:pPr marL="0" lvl="2" indent="0" defTabSz="1219140">
              <a:spcBef>
                <a:spcPts val="0"/>
              </a:spcBef>
              <a:spcAft>
                <a:spcPts val="600"/>
              </a:spcAft>
              <a:buNone/>
              <a:tabLst>
                <a:tab pos="950162" algn="l"/>
              </a:tabLst>
              <a:defRPr/>
            </a:pPr>
            <a:endParaRPr lang="en-US" sz="1400" dirty="0">
              <a:cs typeface="Arial" panose="020B0604020202020204" pitchFamily="34" charset="0"/>
            </a:endParaRPr>
          </a:p>
        </p:txBody>
      </p:sp>
      <p:pic>
        <p:nvPicPr>
          <p:cNvPr id="7" name="Grafik 6">
            <a:extLst>
              <a:ext uri="{FF2B5EF4-FFF2-40B4-BE49-F238E27FC236}">
                <a16:creationId xmlns:a16="http://schemas.microsoft.com/office/drawing/2014/main" id="{2D97A389-1BDB-58AC-16E8-007867F1C8B5}"/>
              </a:ext>
            </a:extLst>
          </p:cNvPr>
          <p:cNvPicPr>
            <a:picLocks noChangeAspect="1"/>
          </p:cNvPicPr>
          <p:nvPr/>
        </p:nvPicPr>
        <p:blipFill>
          <a:blip r:embed="rId2"/>
          <a:stretch>
            <a:fillRect/>
          </a:stretch>
        </p:blipFill>
        <p:spPr>
          <a:xfrm>
            <a:off x="6794090" y="1189804"/>
            <a:ext cx="4837471" cy="4660490"/>
          </a:xfrm>
          <a:prstGeom prst="rect">
            <a:avLst/>
          </a:prstGeom>
        </p:spPr>
      </p:pic>
      <p:sp>
        <p:nvSpPr>
          <p:cNvPr id="2" name="Textfeld 1">
            <a:extLst>
              <a:ext uri="{FF2B5EF4-FFF2-40B4-BE49-F238E27FC236}">
                <a16:creationId xmlns:a16="http://schemas.microsoft.com/office/drawing/2014/main" id="{C32EDBB6-3B75-7162-677B-AC07CD30C3B0}"/>
              </a:ext>
            </a:extLst>
          </p:cNvPr>
          <p:cNvSpPr txBox="1"/>
          <p:nvPr/>
        </p:nvSpPr>
        <p:spPr>
          <a:xfrm>
            <a:off x="7585695" y="5932957"/>
            <a:ext cx="3396764" cy="187424"/>
          </a:xfrm>
          <a:prstGeom prst="rect">
            <a:avLst/>
          </a:prstGeom>
          <a:noFill/>
        </p:spPr>
        <p:txBody>
          <a:bodyPr wrap="none" lIns="0" tIns="0" rIns="0" bIns="0" rtlCol="0">
            <a:spAutoFit/>
          </a:bodyPr>
          <a:lstStyle/>
          <a:p>
            <a:pPr algn="ctr">
              <a:lnSpc>
                <a:spcPct val="110000"/>
              </a:lnSpc>
            </a:pPr>
            <a:r>
              <a:rPr lang="en-GB" sz="1200" b="1" dirty="0"/>
              <a:t>Hydropower Generation in Europe 2021 (</a:t>
            </a:r>
            <a:r>
              <a:rPr lang="en-GB" sz="1200" b="1" dirty="0" err="1"/>
              <a:t>vgbe</a:t>
            </a:r>
            <a:r>
              <a:rPr lang="en-GB" sz="1200" b="1" dirty="0"/>
              <a:t>)</a:t>
            </a:r>
          </a:p>
        </p:txBody>
      </p:sp>
    </p:spTree>
    <p:extLst>
      <p:ext uri="{BB962C8B-B14F-4D97-AF65-F5344CB8AC3E}">
        <p14:creationId xmlns:p14="http://schemas.microsoft.com/office/powerpoint/2010/main" val="1398010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CE4DDAAC-1F38-0971-FE59-176B82DD7E23}"/>
              </a:ext>
            </a:extLst>
          </p:cNvPr>
          <p:cNvSpPr>
            <a:spLocks noGrp="1"/>
          </p:cNvSpPr>
          <p:nvPr>
            <p:ph type="title"/>
          </p:nvPr>
        </p:nvSpPr>
        <p:spPr>
          <a:xfrm>
            <a:off x="196982" y="188913"/>
            <a:ext cx="3352463" cy="1783529"/>
          </a:xfrm>
        </p:spPr>
        <p:txBody>
          <a:bodyPr/>
          <a:lstStyle/>
          <a:p>
            <a:r>
              <a:rPr lang="en-GB" dirty="0"/>
              <a:t>Hydro Power in Danube River Basin</a:t>
            </a:r>
            <a:br>
              <a:rPr lang="en-GB" dirty="0"/>
            </a:br>
            <a:r>
              <a:rPr lang="en-GB" sz="1600" dirty="0"/>
              <a:t>(Source: ICDPR)</a:t>
            </a:r>
          </a:p>
        </p:txBody>
      </p:sp>
      <p:pic>
        <p:nvPicPr>
          <p:cNvPr id="7" name="Grafik 6">
            <a:extLst>
              <a:ext uri="{FF2B5EF4-FFF2-40B4-BE49-F238E27FC236}">
                <a16:creationId xmlns:a16="http://schemas.microsoft.com/office/drawing/2014/main" id="{37C64EFD-3D7C-D8AA-DFF4-4B52A0CB38A8}"/>
              </a:ext>
            </a:extLst>
          </p:cNvPr>
          <p:cNvPicPr>
            <a:picLocks noChangeAspect="1"/>
          </p:cNvPicPr>
          <p:nvPr/>
        </p:nvPicPr>
        <p:blipFill>
          <a:blip r:embed="rId2"/>
          <a:stretch>
            <a:fillRect/>
          </a:stretch>
        </p:blipFill>
        <p:spPr>
          <a:xfrm>
            <a:off x="3016411" y="159483"/>
            <a:ext cx="9091609" cy="6560612"/>
          </a:xfrm>
          <a:prstGeom prst="rect">
            <a:avLst/>
          </a:prstGeom>
        </p:spPr>
      </p:pic>
      <p:pic>
        <p:nvPicPr>
          <p:cNvPr id="9" name="Grafik 8">
            <a:extLst>
              <a:ext uri="{FF2B5EF4-FFF2-40B4-BE49-F238E27FC236}">
                <a16:creationId xmlns:a16="http://schemas.microsoft.com/office/drawing/2014/main" id="{10D30252-C83A-4B90-69A3-8EC4D6A15DF9}"/>
              </a:ext>
            </a:extLst>
          </p:cNvPr>
          <p:cNvPicPr>
            <a:picLocks noChangeAspect="1"/>
          </p:cNvPicPr>
          <p:nvPr/>
        </p:nvPicPr>
        <p:blipFill>
          <a:blip r:embed="rId3"/>
          <a:stretch>
            <a:fillRect/>
          </a:stretch>
        </p:blipFill>
        <p:spPr>
          <a:xfrm>
            <a:off x="430006" y="2104103"/>
            <a:ext cx="2219888" cy="293258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59457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A34FEA7-6525-FAEF-D6B7-8A911A58700E}"/>
              </a:ext>
            </a:extLst>
          </p:cNvPr>
          <p:cNvSpPr>
            <a:spLocks noGrp="1"/>
          </p:cNvSpPr>
          <p:nvPr>
            <p:ph type="title"/>
          </p:nvPr>
        </p:nvSpPr>
        <p:spPr>
          <a:xfrm>
            <a:off x="196981" y="188913"/>
            <a:ext cx="11811517" cy="730148"/>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US" dirty="0">
                <a:solidFill>
                  <a:schemeClr val="bg1"/>
                </a:solidFill>
              </a:rPr>
              <a:t>Multipurpose Use of Hydropower </a:t>
            </a:r>
            <a:br>
              <a:rPr lang="de-AT" dirty="0">
                <a:solidFill>
                  <a:schemeClr val="bg1"/>
                </a:solidFill>
              </a:rPr>
            </a:br>
            <a:r>
              <a:rPr lang="en-US" altLang="de-DE" dirty="0">
                <a:solidFill>
                  <a:schemeClr val="bg1"/>
                </a:solidFill>
              </a:rPr>
              <a:t>
</a:t>
            </a:r>
            <a:br>
              <a:rPr lang="de-AT" dirty="0">
                <a:solidFill>
                  <a:schemeClr val="bg1"/>
                </a:solidFill>
              </a:rPr>
            </a:br>
            <a:endParaRPr lang="de-AT" dirty="0">
              <a:solidFill>
                <a:schemeClr val="bg1"/>
              </a:solidFill>
            </a:endParaRPr>
          </a:p>
        </p:txBody>
      </p:sp>
      <p:pic>
        <p:nvPicPr>
          <p:cNvPr id="11" name="Grafik 10">
            <a:extLst>
              <a:ext uri="{FF2B5EF4-FFF2-40B4-BE49-F238E27FC236}">
                <a16:creationId xmlns:a16="http://schemas.microsoft.com/office/drawing/2014/main" id="{BC9B1ED9-A1E2-B1C3-DCB4-B7D688552624}"/>
              </a:ext>
            </a:extLst>
          </p:cNvPr>
          <p:cNvPicPr>
            <a:picLocks noChangeAspect="1"/>
          </p:cNvPicPr>
          <p:nvPr/>
        </p:nvPicPr>
        <p:blipFill>
          <a:blip r:embed="rId2"/>
          <a:stretch>
            <a:fillRect/>
          </a:stretch>
        </p:blipFill>
        <p:spPr>
          <a:xfrm>
            <a:off x="1376265" y="1117376"/>
            <a:ext cx="9439469" cy="5235513"/>
          </a:xfrm>
          <a:prstGeom prst="rect">
            <a:avLst/>
          </a:prstGeom>
        </p:spPr>
      </p:pic>
      <p:sp>
        <p:nvSpPr>
          <p:cNvPr id="12" name="Textfeld 11">
            <a:extLst>
              <a:ext uri="{FF2B5EF4-FFF2-40B4-BE49-F238E27FC236}">
                <a16:creationId xmlns:a16="http://schemas.microsoft.com/office/drawing/2014/main" id="{F9837AB8-4421-C216-7E15-684FEB2D50BD}"/>
              </a:ext>
            </a:extLst>
          </p:cNvPr>
          <p:cNvSpPr txBox="1"/>
          <p:nvPr/>
        </p:nvSpPr>
        <p:spPr>
          <a:xfrm>
            <a:off x="10478277" y="6401915"/>
            <a:ext cx="1296830" cy="187424"/>
          </a:xfrm>
          <a:prstGeom prst="rect">
            <a:avLst/>
          </a:prstGeom>
          <a:noFill/>
        </p:spPr>
        <p:txBody>
          <a:bodyPr wrap="none" lIns="0" tIns="0" rIns="0" bIns="0" rtlCol="0">
            <a:spAutoFit/>
          </a:bodyPr>
          <a:lstStyle/>
          <a:p>
            <a:pPr algn="l">
              <a:lnSpc>
                <a:spcPct val="110000"/>
              </a:lnSpc>
            </a:pPr>
            <a:r>
              <a:rPr lang="de-AT" sz="1200" dirty="0"/>
              <a:t>Source: </a:t>
            </a:r>
            <a:r>
              <a:rPr lang="de-AT" sz="1200" dirty="0" err="1"/>
              <a:t>Eurelectric</a:t>
            </a:r>
            <a:endParaRPr lang="de-AT" sz="1200" dirty="0"/>
          </a:p>
        </p:txBody>
      </p:sp>
    </p:spTree>
    <p:extLst>
      <p:ext uri="{BB962C8B-B14F-4D97-AF65-F5344CB8AC3E}">
        <p14:creationId xmlns:p14="http://schemas.microsoft.com/office/powerpoint/2010/main" val="796909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A34FEA7-6525-FAEF-D6B7-8A911A58700E}"/>
              </a:ext>
            </a:extLst>
          </p:cNvPr>
          <p:cNvSpPr>
            <a:spLocks noGrp="1"/>
          </p:cNvSpPr>
          <p:nvPr>
            <p:ph type="title"/>
          </p:nvPr>
        </p:nvSpPr>
        <p:spPr>
          <a:xfrm>
            <a:off x="196981" y="188913"/>
            <a:ext cx="11811517" cy="730148"/>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US" dirty="0">
                <a:solidFill>
                  <a:schemeClr val="bg1"/>
                </a:solidFill>
              </a:rPr>
              <a:t>Climate Neutrality: projected Development of Renewables</a:t>
            </a:r>
            <a:br>
              <a:rPr lang="de-AT" dirty="0">
                <a:solidFill>
                  <a:schemeClr val="bg1"/>
                </a:solidFill>
              </a:rPr>
            </a:br>
            <a:r>
              <a:rPr lang="en-US" altLang="de-DE" dirty="0">
                <a:solidFill>
                  <a:schemeClr val="bg1"/>
                </a:solidFill>
              </a:rPr>
              <a:t>
</a:t>
            </a:r>
            <a:br>
              <a:rPr lang="de-AT" dirty="0">
                <a:solidFill>
                  <a:schemeClr val="bg1"/>
                </a:solidFill>
              </a:rPr>
            </a:br>
            <a:endParaRPr lang="de-AT" dirty="0">
              <a:solidFill>
                <a:schemeClr val="bg1"/>
              </a:solidFill>
            </a:endParaRPr>
          </a:p>
        </p:txBody>
      </p:sp>
      <p:pic>
        <p:nvPicPr>
          <p:cNvPr id="9" name="Grafik 8">
            <a:extLst>
              <a:ext uri="{FF2B5EF4-FFF2-40B4-BE49-F238E27FC236}">
                <a16:creationId xmlns:a16="http://schemas.microsoft.com/office/drawing/2014/main" id="{C687F4AD-2CB6-3578-7BE2-ECE9CC58B0D9}"/>
              </a:ext>
            </a:extLst>
          </p:cNvPr>
          <p:cNvPicPr>
            <a:picLocks noChangeAspect="1"/>
          </p:cNvPicPr>
          <p:nvPr/>
        </p:nvPicPr>
        <p:blipFill>
          <a:blip r:embed="rId2"/>
          <a:stretch>
            <a:fillRect/>
          </a:stretch>
        </p:blipFill>
        <p:spPr>
          <a:xfrm>
            <a:off x="471947" y="1323722"/>
            <a:ext cx="7725151" cy="4210556"/>
          </a:xfrm>
          <a:prstGeom prst="rect">
            <a:avLst/>
          </a:prstGeom>
        </p:spPr>
      </p:pic>
      <p:sp>
        <p:nvSpPr>
          <p:cNvPr id="12" name="Inhaltsplatzhalter 1">
            <a:extLst>
              <a:ext uri="{FF2B5EF4-FFF2-40B4-BE49-F238E27FC236}">
                <a16:creationId xmlns:a16="http://schemas.microsoft.com/office/drawing/2014/main" id="{B268614F-E660-B08B-6D21-884F1339090D}"/>
              </a:ext>
            </a:extLst>
          </p:cNvPr>
          <p:cNvSpPr txBox="1">
            <a:spLocks/>
          </p:cNvSpPr>
          <p:nvPr/>
        </p:nvSpPr>
        <p:spPr>
          <a:xfrm>
            <a:off x="8426246" y="1323722"/>
            <a:ext cx="3411794" cy="3492801"/>
          </a:xfrm>
        </p:spPr>
        <p:txBody>
          <a:bodyPr/>
          <a:lstStyle>
            <a:lvl1pPr marL="342900" indent="-342900" algn="l" rtl="0" eaLnBrk="0" fontAlgn="base" hangingPunct="0">
              <a:spcBef>
                <a:spcPct val="20000"/>
              </a:spcBef>
              <a:spcAft>
                <a:spcPct val="0"/>
              </a:spcAft>
              <a:buChar char="•"/>
              <a:defRPr sz="1867">
                <a:solidFill>
                  <a:schemeClr val="tx1"/>
                </a:solidFill>
                <a:latin typeface="+mn-lt"/>
                <a:ea typeface="+mn-ea"/>
                <a:cs typeface="+mn-cs"/>
              </a:defRPr>
            </a:lvl1pPr>
            <a:lvl2pPr marL="742950" indent="-285750" algn="l" rtl="0" eaLnBrk="0" fontAlgn="base" hangingPunct="0">
              <a:spcBef>
                <a:spcPct val="20000"/>
              </a:spcBef>
              <a:spcAft>
                <a:spcPct val="0"/>
              </a:spcAft>
              <a:buChar char="–"/>
              <a:defRPr sz="1867">
                <a:solidFill>
                  <a:schemeClr val="tx1"/>
                </a:solidFill>
                <a:latin typeface="+mn-lt"/>
              </a:defRPr>
            </a:lvl2pPr>
            <a:lvl3pPr marL="1143000" indent="-228600" algn="l" rtl="0" eaLnBrk="0" fontAlgn="base" hangingPunct="0">
              <a:spcBef>
                <a:spcPct val="20000"/>
              </a:spcBef>
              <a:spcAft>
                <a:spcPct val="0"/>
              </a:spcAft>
              <a:buChar char="•"/>
              <a:defRPr sz="1867">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lvl="2" indent="0" defTabSz="1219140">
              <a:spcBef>
                <a:spcPts val="0"/>
              </a:spcBef>
              <a:spcAft>
                <a:spcPts val="600"/>
              </a:spcAft>
              <a:buNone/>
              <a:tabLst>
                <a:tab pos="950162" algn="l"/>
              </a:tabLst>
              <a:defRPr/>
            </a:pPr>
            <a:r>
              <a:rPr lang="en-US" sz="1600" dirty="0">
                <a:cs typeface="Arial" panose="020B0604020202020204" pitchFamily="34" charset="0"/>
              </a:rPr>
              <a:t>European Perspective, Decarbonizations Speedways Project (</a:t>
            </a:r>
            <a:r>
              <a:rPr lang="en-US" sz="1600" dirty="0" err="1">
                <a:cs typeface="Arial" panose="020B0604020202020204" pitchFamily="34" charset="0"/>
              </a:rPr>
              <a:t>Eurelectric</a:t>
            </a:r>
            <a:r>
              <a:rPr lang="en-US" sz="1600" dirty="0">
                <a:cs typeface="Arial" panose="020B0604020202020204" pitchFamily="34" charset="0"/>
              </a:rPr>
              <a:t>, 2023)</a:t>
            </a:r>
          </a:p>
          <a:p>
            <a:pPr marL="285750" lvl="2" indent="-285750" defTabSz="1219140">
              <a:spcBef>
                <a:spcPts val="0"/>
              </a:spcBef>
              <a:spcAft>
                <a:spcPts val="600"/>
              </a:spcAft>
              <a:tabLst>
                <a:tab pos="950162" algn="l"/>
              </a:tabLst>
              <a:defRPr/>
            </a:pPr>
            <a:r>
              <a:rPr lang="en-US" sz="1400" dirty="0"/>
              <a:t>By 2040, electricity generation will nearly need to double</a:t>
            </a:r>
          </a:p>
          <a:p>
            <a:pPr marL="285750" lvl="2" indent="-285750" defTabSz="1219140">
              <a:spcBef>
                <a:spcPts val="0"/>
              </a:spcBef>
              <a:spcAft>
                <a:spcPts val="600"/>
              </a:spcAft>
              <a:tabLst>
                <a:tab pos="950162" algn="l"/>
              </a:tabLst>
              <a:defRPr/>
            </a:pPr>
            <a:r>
              <a:rPr lang="en-US" sz="1400" dirty="0"/>
              <a:t>To ensure security of supply in a system with high shares of renewables, firm and dispatchable technologies will be massively needed.</a:t>
            </a:r>
            <a:endParaRPr lang="en-US" sz="1600" dirty="0">
              <a:cs typeface="Arial" panose="020B0604020202020204" pitchFamily="34" charset="0"/>
            </a:endParaRPr>
          </a:p>
          <a:p>
            <a:pPr marL="0" lvl="2" indent="0" defTabSz="1219140">
              <a:spcBef>
                <a:spcPts val="0"/>
              </a:spcBef>
              <a:spcAft>
                <a:spcPts val="600"/>
              </a:spcAft>
              <a:buNone/>
              <a:tabLst>
                <a:tab pos="950162" algn="l"/>
              </a:tabLst>
              <a:defRPr/>
            </a:pPr>
            <a:endParaRPr lang="en-US" sz="1600" dirty="0">
              <a:cs typeface="Arial" panose="020B0604020202020204" pitchFamily="34" charset="0"/>
            </a:endParaRPr>
          </a:p>
          <a:p>
            <a:pPr marL="0" lvl="2" indent="0" defTabSz="1219140">
              <a:spcBef>
                <a:spcPts val="0"/>
              </a:spcBef>
              <a:spcAft>
                <a:spcPts val="600"/>
              </a:spcAft>
              <a:buNone/>
              <a:tabLst>
                <a:tab pos="950162" algn="l"/>
              </a:tabLst>
              <a:defRPr/>
            </a:pPr>
            <a:r>
              <a:rPr lang="en-US" sz="1600" dirty="0">
                <a:cs typeface="Arial" panose="020B0604020202020204" pitchFamily="34" charset="0"/>
              </a:rPr>
              <a:t>Austrian Perspective 2020 to 2040 (</a:t>
            </a:r>
            <a:r>
              <a:rPr lang="en-US" sz="1600" kern="0" dirty="0" err="1">
                <a:cs typeface="Arial" panose="020B0604020202020204" pitchFamily="34" charset="0"/>
              </a:rPr>
              <a:t>Oesterreichs</a:t>
            </a:r>
            <a:r>
              <a:rPr lang="en-US" sz="1600" kern="0" dirty="0">
                <a:cs typeface="Arial" panose="020B0604020202020204" pitchFamily="34" charset="0"/>
              </a:rPr>
              <a:t> </a:t>
            </a:r>
            <a:r>
              <a:rPr lang="en-US" sz="1600" kern="0" dirty="0" err="1">
                <a:cs typeface="Arial" panose="020B0604020202020204" pitchFamily="34" charset="0"/>
              </a:rPr>
              <a:t>Energie</a:t>
            </a:r>
            <a:r>
              <a:rPr lang="en-US" sz="1600" kern="0" dirty="0">
                <a:cs typeface="Arial" panose="020B0604020202020204" pitchFamily="34" charset="0"/>
              </a:rPr>
              <a:t>, 2023)</a:t>
            </a:r>
          </a:p>
          <a:p>
            <a:pPr marL="265113" lvl="2" indent="-265113" defTabSz="1219140">
              <a:spcBef>
                <a:spcPts val="0"/>
              </a:spcBef>
              <a:spcAft>
                <a:spcPts val="600"/>
              </a:spcAft>
              <a:buFont typeface="Arial" panose="020B0604020202020204" pitchFamily="34" charset="0"/>
              <a:buChar char="•"/>
              <a:tabLst>
                <a:tab pos="950162" algn="l"/>
              </a:tabLst>
              <a:defRPr/>
            </a:pPr>
            <a:r>
              <a:rPr lang="en-US" sz="1400" kern="0" dirty="0">
                <a:cs typeface="Arial" panose="020B0604020202020204" pitchFamily="34" charset="0"/>
              </a:rPr>
              <a:t>Doubling of renewable Generation, Tripling of renewable Capacity</a:t>
            </a:r>
          </a:p>
          <a:p>
            <a:pPr marL="265113" lvl="2" indent="-265113" defTabSz="1219140">
              <a:spcBef>
                <a:spcPts val="0"/>
              </a:spcBef>
              <a:spcAft>
                <a:spcPts val="600"/>
              </a:spcAft>
              <a:buFont typeface="Arial" panose="020B0604020202020204" pitchFamily="34" charset="0"/>
              <a:buChar char="•"/>
              <a:tabLst>
                <a:tab pos="950162" algn="l"/>
              </a:tabLst>
              <a:defRPr/>
            </a:pPr>
            <a:r>
              <a:rPr lang="en-US" sz="1400" kern="0" dirty="0">
                <a:cs typeface="Arial" panose="020B0604020202020204" pitchFamily="34" charset="0"/>
              </a:rPr>
              <a:t>Need for additional Flexibility / Storage</a:t>
            </a:r>
            <a:endParaRPr lang="de-DE" sz="1400" kern="0" dirty="0">
              <a:cs typeface="Arial" panose="020B0604020202020204" pitchFamily="34" charset="0"/>
            </a:endParaRPr>
          </a:p>
          <a:p>
            <a:pPr marL="0" lvl="2" indent="0" defTabSz="1219140">
              <a:spcBef>
                <a:spcPts val="0"/>
              </a:spcBef>
              <a:spcAft>
                <a:spcPts val="600"/>
              </a:spcAft>
              <a:buNone/>
              <a:tabLst>
                <a:tab pos="950162" algn="l"/>
              </a:tabLst>
              <a:defRPr/>
            </a:pPr>
            <a:endParaRPr lang="en-US" sz="1600" dirty="0">
              <a:cs typeface="Arial" panose="020B0604020202020204" pitchFamily="34" charset="0"/>
            </a:endParaRPr>
          </a:p>
          <a:p>
            <a:pPr marL="0" lvl="2" indent="0" defTabSz="1219140">
              <a:spcBef>
                <a:spcPts val="0"/>
              </a:spcBef>
              <a:spcAft>
                <a:spcPts val="600"/>
              </a:spcAft>
              <a:buNone/>
              <a:tabLst>
                <a:tab pos="950162" algn="l"/>
              </a:tabLst>
              <a:defRPr/>
            </a:pPr>
            <a:endParaRPr lang="en-US" sz="1600" dirty="0">
              <a:cs typeface="Arial" panose="020B0604020202020204" pitchFamily="34" charset="0"/>
            </a:endParaRPr>
          </a:p>
        </p:txBody>
      </p:sp>
      <p:sp>
        <p:nvSpPr>
          <p:cNvPr id="2" name="Textfeld 1">
            <a:extLst>
              <a:ext uri="{FF2B5EF4-FFF2-40B4-BE49-F238E27FC236}">
                <a16:creationId xmlns:a16="http://schemas.microsoft.com/office/drawing/2014/main" id="{1DA3CBF6-D2E2-4617-233E-65E73BA61B21}"/>
              </a:ext>
            </a:extLst>
          </p:cNvPr>
          <p:cNvSpPr txBox="1"/>
          <p:nvPr/>
        </p:nvSpPr>
        <p:spPr>
          <a:xfrm>
            <a:off x="560439" y="5717153"/>
            <a:ext cx="4645502" cy="187424"/>
          </a:xfrm>
          <a:prstGeom prst="rect">
            <a:avLst/>
          </a:prstGeom>
          <a:noFill/>
        </p:spPr>
        <p:txBody>
          <a:bodyPr wrap="none" lIns="0" tIns="0" rIns="0" bIns="0" rtlCol="0">
            <a:spAutoFit/>
          </a:bodyPr>
          <a:lstStyle/>
          <a:p>
            <a:pPr algn="l">
              <a:lnSpc>
                <a:spcPct val="110000"/>
              </a:lnSpc>
            </a:pPr>
            <a:r>
              <a:rPr lang="en-GB" sz="1200" b="1" dirty="0"/>
              <a:t>Development of RES Capacities 2020 to 2040 (</a:t>
            </a:r>
            <a:r>
              <a:rPr lang="en-GB" sz="1200" b="1" dirty="0" err="1"/>
              <a:t>Eurelectric</a:t>
            </a:r>
            <a:r>
              <a:rPr lang="en-GB" sz="1200" b="1" dirty="0"/>
              <a:t>, 2023)</a:t>
            </a:r>
          </a:p>
        </p:txBody>
      </p:sp>
    </p:spTree>
    <p:extLst>
      <p:ext uri="{BB962C8B-B14F-4D97-AF65-F5344CB8AC3E}">
        <p14:creationId xmlns:p14="http://schemas.microsoft.com/office/powerpoint/2010/main" val="16310221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1A34FEA7-6525-FAEF-D6B7-8A911A58700E}"/>
              </a:ext>
            </a:extLst>
          </p:cNvPr>
          <p:cNvSpPr>
            <a:spLocks noGrp="1"/>
          </p:cNvSpPr>
          <p:nvPr>
            <p:ph type="title"/>
          </p:nvPr>
        </p:nvSpPr>
        <p:spPr>
          <a:xfrm>
            <a:off x="196981" y="188913"/>
            <a:ext cx="11811517" cy="730148"/>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US" dirty="0">
                <a:solidFill>
                  <a:schemeClr val="bg1"/>
                </a:solidFill>
              </a:rPr>
              <a:t>Climate Neutrality: Need for Systemic Approach</a:t>
            </a:r>
            <a:br>
              <a:rPr lang="de-AT" dirty="0">
                <a:solidFill>
                  <a:schemeClr val="bg1"/>
                </a:solidFill>
              </a:rPr>
            </a:br>
            <a:r>
              <a:rPr lang="en-US" altLang="de-DE" dirty="0">
                <a:solidFill>
                  <a:schemeClr val="bg1"/>
                </a:solidFill>
              </a:rPr>
              <a:t>
</a:t>
            </a:r>
            <a:br>
              <a:rPr lang="de-AT" dirty="0">
                <a:solidFill>
                  <a:schemeClr val="bg1"/>
                </a:solidFill>
              </a:rPr>
            </a:br>
            <a:endParaRPr lang="de-AT" dirty="0">
              <a:solidFill>
                <a:schemeClr val="bg1"/>
              </a:solidFill>
            </a:endParaRPr>
          </a:p>
        </p:txBody>
      </p:sp>
      <p:grpSp>
        <p:nvGrpSpPr>
          <p:cNvPr id="4" name="Gruppieren 3">
            <a:extLst>
              <a:ext uri="{FF2B5EF4-FFF2-40B4-BE49-F238E27FC236}">
                <a16:creationId xmlns:a16="http://schemas.microsoft.com/office/drawing/2014/main" id="{8B935F9C-30F1-50AA-27F9-BFC861E20C0A}"/>
              </a:ext>
            </a:extLst>
          </p:cNvPr>
          <p:cNvGrpSpPr/>
          <p:nvPr/>
        </p:nvGrpSpPr>
        <p:grpSpPr>
          <a:xfrm>
            <a:off x="1457607" y="1462177"/>
            <a:ext cx="9276785" cy="4355394"/>
            <a:chOff x="779655" y="1002126"/>
            <a:chExt cx="7386631" cy="3215724"/>
          </a:xfrm>
        </p:grpSpPr>
        <p:sp>
          <p:nvSpPr>
            <p:cNvPr id="14" name="Textfeld 13">
              <a:extLst>
                <a:ext uri="{FF2B5EF4-FFF2-40B4-BE49-F238E27FC236}">
                  <a16:creationId xmlns:a16="http://schemas.microsoft.com/office/drawing/2014/main" id="{969CD997-4D61-7113-E620-D6DA773520DC}"/>
                </a:ext>
              </a:extLst>
            </p:cNvPr>
            <p:cNvSpPr txBox="1"/>
            <p:nvPr/>
          </p:nvSpPr>
          <p:spPr>
            <a:xfrm>
              <a:off x="891912" y="1004426"/>
              <a:ext cx="1387161" cy="469289"/>
            </a:xfrm>
            <a:prstGeom prst="rect">
              <a:avLst/>
            </a:prstGeom>
            <a:solidFill>
              <a:srgbClr val="366F79">
                <a:shade val="80000"/>
                <a:satMod val="15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wrap="square" lIns="0" tIns="3510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Arial"/>
                </a:rPr>
                <a:t>Flexibility and storage</a:t>
              </a:r>
            </a:p>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Arial"/>
                </a:rPr>
                <a:t>(Capacity MW)
</a:t>
              </a:r>
              <a:endParaRPr kumimoji="0" lang="en-GB" sz="1200" b="0" i="0" u="none" strike="noStrike" kern="0" cap="none" spc="0" normalizeH="0" baseline="0" dirty="0">
                <a:ln>
                  <a:noFill/>
                </a:ln>
                <a:solidFill>
                  <a:prstClr val="white"/>
                </a:solidFill>
                <a:effectLst/>
                <a:uLnTx/>
                <a:uFillTx/>
                <a:latin typeface="Arial"/>
                <a:ea typeface="+mn-ea"/>
                <a:cs typeface="+mn-cs"/>
              </a:endParaRPr>
            </a:p>
          </p:txBody>
        </p:sp>
        <p:sp>
          <p:nvSpPr>
            <p:cNvPr id="15" name="Textfeld 14">
              <a:extLst>
                <a:ext uri="{FF2B5EF4-FFF2-40B4-BE49-F238E27FC236}">
                  <a16:creationId xmlns:a16="http://schemas.microsoft.com/office/drawing/2014/main" id="{96EF2884-BFD7-C861-D927-B38E39766F7F}"/>
                </a:ext>
              </a:extLst>
            </p:cNvPr>
            <p:cNvSpPr txBox="1"/>
            <p:nvPr/>
          </p:nvSpPr>
          <p:spPr>
            <a:xfrm>
              <a:off x="3467024" y="2955634"/>
              <a:ext cx="1812131" cy="537461"/>
            </a:xfrm>
            <a:prstGeom prst="rect">
              <a:avLst/>
            </a:prstGeom>
            <a:solidFill>
              <a:srgbClr val="366F79">
                <a:shade val="80000"/>
                <a:satMod val="15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wrap="square" lIns="0" tIns="3510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kern="0" dirty="0">
                  <a:solidFill>
                    <a:prstClr val="white"/>
                  </a:solidFill>
                  <a:latin typeface="Arial"/>
                </a:rPr>
                <a:t>100% renewable electricity system
</a:t>
              </a:r>
              <a:endParaRPr kumimoji="0" lang="en-GB" sz="1400" b="0" i="0" u="none" strike="noStrike" kern="0" cap="none" spc="0" normalizeH="0" baseline="0" dirty="0">
                <a:ln>
                  <a:noFill/>
                </a:ln>
                <a:solidFill>
                  <a:prstClr val="white"/>
                </a:solidFill>
                <a:effectLst/>
                <a:uLnTx/>
                <a:uFillTx/>
                <a:latin typeface="Arial"/>
                <a:ea typeface="+mn-ea"/>
                <a:cs typeface="+mn-cs"/>
              </a:endParaRPr>
            </a:p>
          </p:txBody>
        </p:sp>
        <p:sp>
          <p:nvSpPr>
            <p:cNvPr id="16" name="Textfeld 15">
              <a:extLst>
                <a:ext uri="{FF2B5EF4-FFF2-40B4-BE49-F238E27FC236}">
                  <a16:creationId xmlns:a16="http://schemas.microsoft.com/office/drawing/2014/main" id="{AC489E2D-AA8A-D2AF-10B2-54528065EFCA}"/>
                </a:ext>
              </a:extLst>
            </p:cNvPr>
            <p:cNvSpPr txBox="1"/>
            <p:nvPr/>
          </p:nvSpPr>
          <p:spPr>
            <a:xfrm>
              <a:off x="3516776" y="1002126"/>
              <a:ext cx="1655353" cy="469289"/>
            </a:xfrm>
            <a:prstGeom prst="rect">
              <a:avLst/>
            </a:prstGeom>
            <a:solidFill>
              <a:srgbClr val="366F79">
                <a:shade val="80000"/>
                <a:satMod val="15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wrap="square" lIns="0" tIns="3510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Arial"/>
                </a:rPr>
                <a:t>Renewable generation</a:t>
              </a:r>
            </a:p>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Arial"/>
                </a:rPr>
                <a:t>(Energy kWh)
</a:t>
              </a:r>
              <a:endParaRPr kumimoji="0" lang="en-GB" sz="1200" b="0" i="0" u="none" strike="noStrike" kern="0" cap="none" spc="0" normalizeH="0" baseline="0" dirty="0">
                <a:ln>
                  <a:noFill/>
                </a:ln>
                <a:solidFill>
                  <a:prstClr val="white"/>
                </a:solidFill>
                <a:effectLst/>
                <a:uLnTx/>
                <a:uFillTx/>
                <a:latin typeface="Arial"/>
                <a:ea typeface="+mn-ea"/>
                <a:cs typeface="+mn-cs"/>
              </a:endParaRPr>
            </a:p>
          </p:txBody>
        </p:sp>
        <p:sp>
          <p:nvSpPr>
            <p:cNvPr id="17" name="Textfeld 16">
              <a:extLst>
                <a:ext uri="{FF2B5EF4-FFF2-40B4-BE49-F238E27FC236}">
                  <a16:creationId xmlns:a16="http://schemas.microsoft.com/office/drawing/2014/main" id="{CA41BCFD-882B-FAE2-C2F4-28F04B08D90D}"/>
                </a:ext>
              </a:extLst>
            </p:cNvPr>
            <p:cNvSpPr txBox="1"/>
            <p:nvPr/>
          </p:nvSpPr>
          <p:spPr>
            <a:xfrm>
              <a:off x="6497191" y="1004640"/>
              <a:ext cx="1499948" cy="469289"/>
            </a:xfrm>
            <a:prstGeom prst="rect">
              <a:avLst/>
            </a:prstGeom>
            <a:solidFill>
              <a:srgbClr val="366F79">
                <a:shade val="80000"/>
                <a:satMod val="15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wrap="square" lIns="0" tIns="3510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a:solidFill>
                    <a:prstClr val="white"/>
                  </a:solidFill>
                  <a:latin typeface="Arial"/>
                </a:rPr>
                <a:t>Transmission and distribution
</a:t>
              </a:r>
              <a:endParaRPr kumimoji="0" lang="en-GB" sz="1200" b="0" i="0" u="none" strike="noStrike" kern="0" cap="none" spc="0" normalizeH="0" baseline="0">
                <a:ln>
                  <a:noFill/>
                </a:ln>
                <a:solidFill>
                  <a:prstClr val="white"/>
                </a:solidFill>
                <a:effectLst/>
                <a:uLnTx/>
                <a:uFillTx/>
                <a:latin typeface="Arial"/>
                <a:ea typeface="+mn-ea"/>
                <a:cs typeface="+mn-cs"/>
              </a:endParaRPr>
            </a:p>
          </p:txBody>
        </p:sp>
        <p:sp>
          <p:nvSpPr>
            <p:cNvPr id="18" name="Textfeld 17">
              <a:extLst>
                <a:ext uri="{FF2B5EF4-FFF2-40B4-BE49-F238E27FC236}">
                  <a16:creationId xmlns:a16="http://schemas.microsoft.com/office/drawing/2014/main" id="{C3CE4748-F702-01B5-FD26-FB12B0040FE3}"/>
                </a:ext>
              </a:extLst>
            </p:cNvPr>
            <p:cNvSpPr txBox="1"/>
            <p:nvPr/>
          </p:nvSpPr>
          <p:spPr>
            <a:xfrm>
              <a:off x="1376812" y="3884906"/>
              <a:ext cx="1377321" cy="332944"/>
            </a:xfrm>
            <a:prstGeom prst="rect">
              <a:avLst/>
            </a:prstGeom>
            <a:solidFill>
              <a:srgbClr val="366F79">
                <a:shade val="80000"/>
                <a:satMod val="15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wrap="square" lIns="0" tIns="3510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a:solidFill>
                    <a:prstClr val="white"/>
                  </a:solidFill>
                  <a:latin typeface="Arial"/>
                </a:rPr>
                <a:t>Security of Supply
</a:t>
              </a:r>
              <a:endParaRPr kumimoji="0" lang="en-GB" sz="1200" b="0" i="0" u="none" strike="noStrike" kern="0" cap="none" spc="0" normalizeH="0" baseline="0">
                <a:ln>
                  <a:noFill/>
                </a:ln>
                <a:solidFill>
                  <a:prstClr val="white"/>
                </a:solidFill>
                <a:effectLst/>
                <a:uLnTx/>
                <a:uFillTx/>
                <a:latin typeface="Arial"/>
                <a:ea typeface="+mn-ea"/>
                <a:cs typeface="+mn-cs"/>
              </a:endParaRPr>
            </a:p>
          </p:txBody>
        </p:sp>
        <p:sp>
          <p:nvSpPr>
            <p:cNvPr id="19" name="Textfeld 18">
              <a:extLst>
                <a:ext uri="{FF2B5EF4-FFF2-40B4-BE49-F238E27FC236}">
                  <a16:creationId xmlns:a16="http://schemas.microsoft.com/office/drawing/2014/main" id="{884DC389-E753-CA44-BF55-85A7202D2681}"/>
                </a:ext>
              </a:extLst>
            </p:cNvPr>
            <p:cNvSpPr txBox="1"/>
            <p:nvPr/>
          </p:nvSpPr>
          <p:spPr>
            <a:xfrm>
              <a:off x="5705908" y="3880303"/>
              <a:ext cx="1110528" cy="332944"/>
            </a:xfrm>
            <a:prstGeom prst="rect">
              <a:avLst/>
            </a:prstGeom>
            <a:solidFill>
              <a:srgbClr val="366F79">
                <a:shade val="80000"/>
                <a:satMod val="150000"/>
              </a:srgb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p:spPr>
          <p:txBody>
            <a:bodyPr wrap="square" lIns="0" tIns="35100" r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200" kern="0">
                  <a:solidFill>
                    <a:prstClr val="white"/>
                  </a:solidFill>
                  <a:latin typeface="Arial"/>
                </a:rPr>
                <a:t>Affordability
</a:t>
              </a:r>
              <a:endParaRPr kumimoji="0" lang="en-GB" sz="1200" b="0" i="0" u="none" strike="noStrike" kern="0" cap="none" spc="0" normalizeH="0" baseline="0">
                <a:ln>
                  <a:noFill/>
                </a:ln>
                <a:solidFill>
                  <a:prstClr val="white"/>
                </a:solidFill>
                <a:effectLst/>
                <a:uLnTx/>
                <a:uFillTx/>
                <a:latin typeface="Arial"/>
                <a:ea typeface="+mn-ea"/>
                <a:cs typeface="+mn-cs"/>
              </a:endParaRPr>
            </a:p>
          </p:txBody>
        </p:sp>
        <p:pic>
          <p:nvPicPr>
            <p:cNvPr id="20" name="Grafik 19">
              <a:extLst>
                <a:ext uri="{FF2B5EF4-FFF2-40B4-BE49-F238E27FC236}">
                  <a16:creationId xmlns:a16="http://schemas.microsoft.com/office/drawing/2014/main" id="{715851A8-3C36-213C-A520-CAD252981AC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23753" y="1782058"/>
              <a:ext cx="555593" cy="475549"/>
            </a:xfrm>
            <a:prstGeom prst="rect">
              <a:avLst/>
            </a:prstGeom>
          </p:spPr>
        </p:pic>
        <p:pic>
          <p:nvPicPr>
            <p:cNvPr id="21" name="Grafik 20">
              <a:extLst>
                <a:ext uri="{FF2B5EF4-FFF2-40B4-BE49-F238E27FC236}">
                  <a16:creationId xmlns:a16="http://schemas.microsoft.com/office/drawing/2014/main" id="{96DAD091-9253-AB7F-46D7-30BA4027BE9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579347" y="1803649"/>
              <a:ext cx="510908" cy="449013"/>
            </a:xfrm>
            <a:prstGeom prst="rect">
              <a:avLst/>
            </a:prstGeom>
          </p:spPr>
        </p:pic>
        <p:pic>
          <p:nvPicPr>
            <p:cNvPr id="22" name="Grafik 21">
              <a:extLst>
                <a:ext uri="{FF2B5EF4-FFF2-40B4-BE49-F238E27FC236}">
                  <a16:creationId xmlns:a16="http://schemas.microsoft.com/office/drawing/2014/main" id="{51485176-4D8A-FF8C-4AF7-4F9F6DDCEE8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52262" y="1803649"/>
              <a:ext cx="563574" cy="449013"/>
            </a:xfrm>
            <a:prstGeom prst="rect">
              <a:avLst/>
            </a:prstGeom>
          </p:spPr>
        </p:pic>
        <p:pic>
          <p:nvPicPr>
            <p:cNvPr id="23" name="Grafik 22">
              <a:extLst>
                <a:ext uri="{FF2B5EF4-FFF2-40B4-BE49-F238E27FC236}">
                  <a16:creationId xmlns:a16="http://schemas.microsoft.com/office/drawing/2014/main" id="{324E766A-8449-99CC-1405-FB66A5577E1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39851" y="1782059"/>
              <a:ext cx="510908" cy="510908"/>
            </a:xfrm>
            <a:prstGeom prst="rect">
              <a:avLst/>
            </a:prstGeom>
          </p:spPr>
        </p:pic>
        <p:grpSp>
          <p:nvGrpSpPr>
            <p:cNvPr id="24" name="Gruppieren 23">
              <a:extLst>
                <a:ext uri="{FF2B5EF4-FFF2-40B4-BE49-F238E27FC236}">
                  <a16:creationId xmlns:a16="http://schemas.microsoft.com/office/drawing/2014/main" id="{540AD8C1-BD2F-66BD-D7C6-5E13D6FD7874}"/>
                </a:ext>
              </a:extLst>
            </p:cNvPr>
            <p:cNvGrpSpPr/>
            <p:nvPr/>
          </p:nvGrpSpPr>
          <p:grpSpPr>
            <a:xfrm>
              <a:off x="6439270" y="1635314"/>
              <a:ext cx="1727016" cy="883499"/>
              <a:chOff x="5284470" y="1276202"/>
              <a:chExt cx="2089986" cy="1042901"/>
            </a:xfrm>
          </p:grpSpPr>
          <p:pic>
            <p:nvPicPr>
              <p:cNvPr id="44" name="Grafik 43">
                <a:extLst>
                  <a:ext uri="{FF2B5EF4-FFF2-40B4-BE49-F238E27FC236}">
                    <a16:creationId xmlns:a16="http://schemas.microsoft.com/office/drawing/2014/main" id="{FA0E1E43-888B-365C-5C90-0422218527D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flipH="1">
                <a:off x="5786005" y="1276202"/>
                <a:ext cx="353536" cy="575192"/>
              </a:xfrm>
              <a:prstGeom prst="rect">
                <a:avLst/>
              </a:prstGeom>
            </p:spPr>
          </p:pic>
          <p:pic>
            <p:nvPicPr>
              <p:cNvPr id="45" name="Grafik 44">
                <a:extLst>
                  <a:ext uri="{FF2B5EF4-FFF2-40B4-BE49-F238E27FC236}">
                    <a16:creationId xmlns:a16="http://schemas.microsoft.com/office/drawing/2014/main" id="{17A4EC9C-273B-BE5E-B80C-310F6E2A70D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35697" y="1894764"/>
                <a:ext cx="143295" cy="424339"/>
              </a:xfrm>
              <a:prstGeom prst="rect">
                <a:avLst/>
              </a:prstGeom>
            </p:spPr>
          </p:pic>
          <p:pic>
            <p:nvPicPr>
              <p:cNvPr id="46" name="Grafik 45">
                <a:extLst>
                  <a:ext uri="{FF2B5EF4-FFF2-40B4-BE49-F238E27FC236}">
                    <a16:creationId xmlns:a16="http://schemas.microsoft.com/office/drawing/2014/main" id="{39528F5A-6643-1C45-05BE-3AC2FCFE7F4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flipH="1">
                <a:off x="6489077" y="1276202"/>
                <a:ext cx="353536" cy="575192"/>
              </a:xfrm>
              <a:prstGeom prst="rect">
                <a:avLst/>
              </a:prstGeom>
            </p:spPr>
          </p:pic>
          <p:pic>
            <p:nvPicPr>
              <p:cNvPr id="47" name="Grafik 46">
                <a:extLst>
                  <a:ext uri="{FF2B5EF4-FFF2-40B4-BE49-F238E27FC236}">
                    <a16:creationId xmlns:a16="http://schemas.microsoft.com/office/drawing/2014/main" id="{20EA6ACD-74AB-1E04-AB34-E4EC3EF5FB5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18126" y="1885215"/>
                <a:ext cx="143295" cy="424339"/>
              </a:xfrm>
              <a:prstGeom prst="rect">
                <a:avLst/>
              </a:prstGeom>
            </p:spPr>
          </p:pic>
          <p:pic>
            <p:nvPicPr>
              <p:cNvPr id="48" name="Grafik 47">
                <a:extLst>
                  <a:ext uri="{FF2B5EF4-FFF2-40B4-BE49-F238E27FC236}">
                    <a16:creationId xmlns:a16="http://schemas.microsoft.com/office/drawing/2014/main" id="{2D84C726-EA9D-2E36-9441-5DD13838072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53268" y="1894764"/>
                <a:ext cx="143295" cy="424339"/>
              </a:xfrm>
              <a:prstGeom prst="rect">
                <a:avLst/>
              </a:prstGeom>
            </p:spPr>
          </p:pic>
          <p:cxnSp>
            <p:nvCxnSpPr>
              <p:cNvPr id="49" name="Gerader Verbinder 48">
                <a:extLst>
                  <a:ext uri="{FF2B5EF4-FFF2-40B4-BE49-F238E27FC236}">
                    <a16:creationId xmlns:a16="http://schemas.microsoft.com/office/drawing/2014/main" id="{D33C0081-8FE2-ED1A-BF02-11ACD6D832C9}"/>
                  </a:ext>
                </a:extLst>
              </p:cNvPr>
              <p:cNvCxnSpPr/>
              <p:nvPr/>
            </p:nvCxnSpPr>
            <p:spPr>
              <a:xfrm>
                <a:off x="5692493" y="1933293"/>
                <a:ext cx="1296306" cy="0"/>
              </a:xfrm>
              <a:prstGeom prst="line">
                <a:avLst/>
              </a:prstGeom>
              <a:noFill/>
              <a:ln w="9525" cap="flat" cmpd="sng" algn="ctr">
                <a:solidFill>
                  <a:srgbClr val="366F79"/>
                </a:solidFill>
                <a:prstDash val="solid"/>
              </a:ln>
              <a:effectLst/>
            </p:spPr>
          </p:cxnSp>
          <p:cxnSp>
            <p:nvCxnSpPr>
              <p:cNvPr id="50" name="Gerader Verbinder 49">
                <a:extLst>
                  <a:ext uri="{FF2B5EF4-FFF2-40B4-BE49-F238E27FC236}">
                    <a16:creationId xmlns:a16="http://schemas.microsoft.com/office/drawing/2014/main" id="{E2F0DA3D-939F-E227-9F87-011D4DDE6887}"/>
                  </a:ext>
                </a:extLst>
              </p:cNvPr>
              <p:cNvCxnSpPr/>
              <p:nvPr/>
            </p:nvCxnSpPr>
            <p:spPr>
              <a:xfrm flipV="1">
                <a:off x="5706658" y="1973049"/>
                <a:ext cx="1308581" cy="1"/>
              </a:xfrm>
              <a:prstGeom prst="line">
                <a:avLst/>
              </a:prstGeom>
              <a:noFill/>
              <a:ln w="9525" cap="flat" cmpd="sng" algn="ctr">
                <a:solidFill>
                  <a:srgbClr val="366F79"/>
                </a:solidFill>
                <a:prstDash val="solid"/>
              </a:ln>
              <a:effectLst/>
            </p:spPr>
          </p:cxnSp>
          <p:cxnSp>
            <p:nvCxnSpPr>
              <p:cNvPr id="51" name="Gerader Verbinder 50">
                <a:extLst>
                  <a:ext uri="{FF2B5EF4-FFF2-40B4-BE49-F238E27FC236}">
                    <a16:creationId xmlns:a16="http://schemas.microsoft.com/office/drawing/2014/main" id="{BD4ECC30-6D17-8086-7647-264F0F9A8C00}"/>
                  </a:ext>
                </a:extLst>
              </p:cNvPr>
              <p:cNvCxnSpPr/>
              <p:nvPr/>
            </p:nvCxnSpPr>
            <p:spPr>
              <a:xfrm>
                <a:off x="5742449" y="1894764"/>
                <a:ext cx="1246350" cy="0"/>
              </a:xfrm>
              <a:prstGeom prst="line">
                <a:avLst/>
              </a:prstGeom>
              <a:noFill/>
              <a:ln w="9525" cap="flat" cmpd="sng" algn="ctr">
                <a:solidFill>
                  <a:srgbClr val="366F79"/>
                </a:solidFill>
                <a:prstDash val="solid"/>
              </a:ln>
              <a:effectLst/>
            </p:spPr>
          </p:cxnSp>
          <p:cxnSp>
            <p:nvCxnSpPr>
              <p:cNvPr id="52" name="Gerader Verbinder 51">
                <a:extLst>
                  <a:ext uri="{FF2B5EF4-FFF2-40B4-BE49-F238E27FC236}">
                    <a16:creationId xmlns:a16="http://schemas.microsoft.com/office/drawing/2014/main" id="{C70FF54F-5233-66AA-A067-23D1B0D6C956}"/>
                  </a:ext>
                </a:extLst>
              </p:cNvPr>
              <p:cNvCxnSpPr/>
              <p:nvPr/>
            </p:nvCxnSpPr>
            <p:spPr>
              <a:xfrm>
                <a:off x="5740966" y="1592391"/>
                <a:ext cx="1220329" cy="0"/>
              </a:xfrm>
              <a:prstGeom prst="line">
                <a:avLst/>
              </a:prstGeom>
              <a:noFill/>
              <a:ln w="9525" cap="flat" cmpd="sng" algn="ctr">
                <a:solidFill>
                  <a:srgbClr val="366F79"/>
                </a:solidFill>
                <a:prstDash val="solid"/>
              </a:ln>
              <a:effectLst/>
            </p:spPr>
          </p:cxnSp>
          <p:cxnSp>
            <p:nvCxnSpPr>
              <p:cNvPr id="53" name="Gerader Verbinder 52">
                <a:extLst>
                  <a:ext uri="{FF2B5EF4-FFF2-40B4-BE49-F238E27FC236}">
                    <a16:creationId xmlns:a16="http://schemas.microsoft.com/office/drawing/2014/main" id="{B5128EB4-17BE-1271-FCD9-91BCE9902565}"/>
                  </a:ext>
                </a:extLst>
              </p:cNvPr>
              <p:cNvCxnSpPr/>
              <p:nvPr/>
            </p:nvCxnSpPr>
            <p:spPr>
              <a:xfrm>
                <a:off x="5749604" y="1641052"/>
                <a:ext cx="1211691" cy="0"/>
              </a:xfrm>
              <a:prstGeom prst="line">
                <a:avLst/>
              </a:prstGeom>
              <a:noFill/>
              <a:ln w="9525" cap="flat" cmpd="sng" algn="ctr">
                <a:solidFill>
                  <a:srgbClr val="366F79"/>
                </a:solidFill>
                <a:prstDash val="solid"/>
              </a:ln>
              <a:effectLst/>
            </p:spPr>
          </p:cxnSp>
          <p:cxnSp>
            <p:nvCxnSpPr>
              <p:cNvPr id="54" name="Gerader Verbinder 53">
                <a:extLst>
                  <a:ext uri="{FF2B5EF4-FFF2-40B4-BE49-F238E27FC236}">
                    <a16:creationId xmlns:a16="http://schemas.microsoft.com/office/drawing/2014/main" id="{33FC21DB-B7AC-92D5-1F34-F420D624256D}"/>
                  </a:ext>
                </a:extLst>
              </p:cNvPr>
              <p:cNvCxnSpPr/>
              <p:nvPr/>
            </p:nvCxnSpPr>
            <p:spPr>
              <a:xfrm>
                <a:off x="5626558" y="1363785"/>
                <a:ext cx="1440507" cy="0"/>
              </a:xfrm>
              <a:prstGeom prst="line">
                <a:avLst/>
              </a:prstGeom>
              <a:noFill/>
              <a:ln w="9525" cap="flat" cmpd="sng" algn="ctr">
                <a:solidFill>
                  <a:srgbClr val="366F79"/>
                </a:solidFill>
                <a:prstDash val="solid"/>
              </a:ln>
              <a:effectLst/>
            </p:spPr>
          </p:cxnSp>
          <p:cxnSp>
            <p:nvCxnSpPr>
              <p:cNvPr id="55" name="Gerader Verbinder 54">
                <a:extLst>
                  <a:ext uri="{FF2B5EF4-FFF2-40B4-BE49-F238E27FC236}">
                    <a16:creationId xmlns:a16="http://schemas.microsoft.com/office/drawing/2014/main" id="{B2A24725-76BC-AB24-D0C7-AC6B98A43B11}"/>
                  </a:ext>
                </a:extLst>
              </p:cNvPr>
              <p:cNvCxnSpPr/>
              <p:nvPr/>
            </p:nvCxnSpPr>
            <p:spPr>
              <a:xfrm>
                <a:off x="5661596" y="1405095"/>
                <a:ext cx="1405469" cy="0"/>
              </a:xfrm>
              <a:prstGeom prst="line">
                <a:avLst/>
              </a:prstGeom>
              <a:noFill/>
              <a:ln w="9525" cap="flat" cmpd="sng" algn="ctr">
                <a:solidFill>
                  <a:srgbClr val="366F79"/>
                </a:solidFill>
                <a:prstDash val="solid"/>
              </a:ln>
              <a:effectLst/>
            </p:spPr>
          </p:cxnSp>
          <p:cxnSp>
            <p:nvCxnSpPr>
              <p:cNvPr id="56" name="Gerader Verbinder 55">
                <a:extLst>
                  <a:ext uri="{FF2B5EF4-FFF2-40B4-BE49-F238E27FC236}">
                    <a16:creationId xmlns:a16="http://schemas.microsoft.com/office/drawing/2014/main" id="{A32FA0D6-0E6F-04E6-80E0-E57B07C7F56F}"/>
                  </a:ext>
                </a:extLst>
              </p:cNvPr>
              <p:cNvCxnSpPr/>
              <p:nvPr/>
            </p:nvCxnSpPr>
            <p:spPr>
              <a:xfrm>
                <a:off x="5387208" y="1363785"/>
                <a:ext cx="157266" cy="0"/>
              </a:xfrm>
              <a:prstGeom prst="line">
                <a:avLst/>
              </a:prstGeom>
              <a:noFill/>
              <a:ln w="9525" cap="flat" cmpd="sng" algn="ctr">
                <a:solidFill>
                  <a:srgbClr val="A4BCB5"/>
                </a:solidFill>
                <a:prstDash val="solid"/>
              </a:ln>
              <a:effectLst/>
            </p:spPr>
          </p:cxnSp>
          <p:cxnSp>
            <p:nvCxnSpPr>
              <p:cNvPr id="57" name="Gerader Verbinder 56">
                <a:extLst>
                  <a:ext uri="{FF2B5EF4-FFF2-40B4-BE49-F238E27FC236}">
                    <a16:creationId xmlns:a16="http://schemas.microsoft.com/office/drawing/2014/main" id="{5560A876-9D4C-8737-4DE1-0DFC1FAC84AA}"/>
                  </a:ext>
                </a:extLst>
              </p:cNvPr>
              <p:cNvCxnSpPr/>
              <p:nvPr/>
            </p:nvCxnSpPr>
            <p:spPr>
              <a:xfrm>
                <a:off x="7076026" y="1363785"/>
                <a:ext cx="157266" cy="0"/>
              </a:xfrm>
              <a:prstGeom prst="line">
                <a:avLst/>
              </a:prstGeom>
              <a:noFill/>
              <a:ln w="9525" cap="flat" cmpd="sng" algn="ctr">
                <a:solidFill>
                  <a:srgbClr val="A4BCB5"/>
                </a:solidFill>
                <a:prstDash val="solid"/>
              </a:ln>
              <a:effectLst/>
            </p:spPr>
          </p:cxnSp>
          <p:cxnSp>
            <p:nvCxnSpPr>
              <p:cNvPr id="58" name="Gerader Verbinder 57">
                <a:extLst>
                  <a:ext uri="{FF2B5EF4-FFF2-40B4-BE49-F238E27FC236}">
                    <a16:creationId xmlns:a16="http://schemas.microsoft.com/office/drawing/2014/main" id="{E0213FB2-BC50-8EE3-1809-AF07BFE68666}"/>
                  </a:ext>
                </a:extLst>
              </p:cNvPr>
              <p:cNvCxnSpPr/>
              <p:nvPr/>
            </p:nvCxnSpPr>
            <p:spPr>
              <a:xfrm>
                <a:off x="7078092" y="1404304"/>
                <a:ext cx="193512" cy="0"/>
              </a:xfrm>
              <a:prstGeom prst="line">
                <a:avLst/>
              </a:prstGeom>
              <a:noFill/>
              <a:ln w="9525" cap="flat" cmpd="sng" algn="ctr">
                <a:solidFill>
                  <a:srgbClr val="A4BCB5"/>
                </a:solidFill>
                <a:prstDash val="solid"/>
              </a:ln>
              <a:effectLst/>
            </p:spPr>
          </p:cxnSp>
          <p:cxnSp>
            <p:nvCxnSpPr>
              <p:cNvPr id="59" name="Gerader Verbinder 58">
                <a:extLst>
                  <a:ext uri="{FF2B5EF4-FFF2-40B4-BE49-F238E27FC236}">
                    <a16:creationId xmlns:a16="http://schemas.microsoft.com/office/drawing/2014/main" id="{F88145BE-7C20-6710-B745-644717AF6C78}"/>
                  </a:ext>
                </a:extLst>
              </p:cNvPr>
              <p:cNvCxnSpPr/>
              <p:nvPr/>
            </p:nvCxnSpPr>
            <p:spPr>
              <a:xfrm>
                <a:off x="5387996" y="1404304"/>
                <a:ext cx="193512" cy="0"/>
              </a:xfrm>
              <a:prstGeom prst="line">
                <a:avLst/>
              </a:prstGeom>
              <a:noFill/>
              <a:ln w="9525" cap="flat" cmpd="sng" algn="ctr">
                <a:solidFill>
                  <a:srgbClr val="A4BCB5"/>
                </a:solidFill>
                <a:prstDash val="solid"/>
              </a:ln>
              <a:effectLst/>
            </p:spPr>
          </p:cxnSp>
          <p:cxnSp>
            <p:nvCxnSpPr>
              <p:cNvPr id="60" name="Gerader Verbinder 59">
                <a:extLst>
                  <a:ext uri="{FF2B5EF4-FFF2-40B4-BE49-F238E27FC236}">
                    <a16:creationId xmlns:a16="http://schemas.microsoft.com/office/drawing/2014/main" id="{05CB782E-E7B5-4EBC-268C-8D27E1015CDB}"/>
                  </a:ext>
                </a:extLst>
              </p:cNvPr>
              <p:cNvCxnSpPr/>
              <p:nvPr/>
            </p:nvCxnSpPr>
            <p:spPr>
              <a:xfrm>
                <a:off x="6977663" y="1592391"/>
                <a:ext cx="396793" cy="0"/>
              </a:xfrm>
              <a:prstGeom prst="line">
                <a:avLst/>
              </a:prstGeom>
              <a:noFill/>
              <a:ln w="9525" cap="flat" cmpd="sng" algn="ctr">
                <a:solidFill>
                  <a:srgbClr val="A4BCB5"/>
                </a:solidFill>
                <a:prstDash val="solid"/>
              </a:ln>
              <a:effectLst/>
            </p:spPr>
          </p:cxnSp>
          <p:cxnSp>
            <p:nvCxnSpPr>
              <p:cNvPr id="61" name="Gerader Verbinder 60">
                <a:extLst>
                  <a:ext uri="{FF2B5EF4-FFF2-40B4-BE49-F238E27FC236}">
                    <a16:creationId xmlns:a16="http://schemas.microsoft.com/office/drawing/2014/main" id="{44E9D564-BE17-6386-1C98-E3C891DDD795}"/>
                  </a:ext>
                </a:extLst>
              </p:cNvPr>
              <p:cNvCxnSpPr/>
              <p:nvPr/>
            </p:nvCxnSpPr>
            <p:spPr>
              <a:xfrm>
                <a:off x="5284470" y="1592391"/>
                <a:ext cx="386958" cy="0"/>
              </a:xfrm>
              <a:prstGeom prst="line">
                <a:avLst/>
              </a:prstGeom>
              <a:noFill/>
              <a:ln w="9525" cap="flat" cmpd="sng" algn="ctr">
                <a:solidFill>
                  <a:srgbClr val="A4BCB5"/>
                </a:solidFill>
                <a:prstDash val="solid"/>
              </a:ln>
              <a:effectLst/>
            </p:spPr>
          </p:cxnSp>
          <p:cxnSp>
            <p:nvCxnSpPr>
              <p:cNvPr id="62" name="Gerader Verbinder 61">
                <a:extLst>
                  <a:ext uri="{FF2B5EF4-FFF2-40B4-BE49-F238E27FC236}">
                    <a16:creationId xmlns:a16="http://schemas.microsoft.com/office/drawing/2014/main" id="{A134AE37-0674-1D13-1026-610047C27DDD}"/>
                  </a:ext>
                </a:extLst>
              </p:cNvPr>
              <p:cNvCxnSpPr/>
              <p:nvPr/>
            </p:nvCxnSpPr>
            <p:spPr>
              <a:xfrm>
                <a:off x="5284470" y="1639509"/>
                <a:ext cx="386958" cy="0"/>
              </a:xfrm>
              <a:prstGeom prst="line">
                <a:avLst/>
              </a:prstGeom>
              <a:noFill/>
              <a:ln w="9525" cap="flat" cmpd="sng" algn="ctr">
                <a:solidFill>
                  <a:srgbClr val="A4BCB5"/>
                </a:solidFill>
                <a:prstDash val="solid"/>
              </a:ln>
              <a:effectLst/>
            </p:spPr>
          </p:cxnSp>
          <p:cxnSp>
            <p:nvCxnSpPr>
              <p:cNvPr id="63" name="Gerader Verbinder 62">
                <a:extLst>
                  <a:ext uri="{FF2B5EF4-FFF2-40B4-BE49-F238E27FC236}">
                    <a16:creationId xmlns:a16="http://schemas.microsoft.com/office/drawing/2014/main" id="{E0AA09E3-D312-E85F-FF0D-F286CEC30861}"/>
                  </a:ext>
                </a:extLst>
              </p:cNvPr>
              <p:cNvCxnSpPr/>
              <p:nvPr/>
            </p:nvCxnSpPr>
            <p:spPr>
              <a:xfrm>
                <a:off x="6983344" y="1639509"/>
                <a:ext cx="386958" cy="0"/>
              </a:xfrm>
              <a:prstGeom prst="line">
                <a:avLst/>
              </a:prstGeom>
              <a:noFill/>
              <a:ln w="9525" cap="flat" cmpd="sng" algn="ctr">
                <a:solidFill>
                  <a:srgbClr val="A4BCB5"/>
                </a:solidFill>
                <a:prstDash val="solid"/>
              </a:ln>
              <a:effectLst/>
            </p:spPr>
          </p:cxnSp>
          <p:cxnSp>
            <p:nvCxnSpPr>
              <p:cNvPr id="64" name="Gerader Verbinder 63">
                <a:extLst>
                  <a:ext uri="{FF2B5EF4-FFF2-40B4-BE49-F238E27FC236}">
                    <a16:creationId xmlns:a16="http://schemas.microsoft.com/office/drawing/2014/main" id="{F39FD675-21CA-B373-0B6E-F3413CBD0F30}"/>
                  </a:ext>
                </a:extLst>
              </p:cNvPr>
              <p:cNvCxnSpPr/>
              <p:nvPr/>
            </p:nvCxnSpPr>
            <p:spPr>
              <a:xfrm>
                <a:off x="6983344" y="1894764"/>
                <a:ext cx="386958" cy="0"/>
              </a:xfrm>
              <a:prstGeom prst="line">
                <a:avLst/>
              </a:prstGeom>
              <a:noFill/>
              <a:ln w="9525" cap="flat" cmpd="sng" algn="ctr">
                <a:solidFill>
                  <a:srgbClr val="A4BCB5"/>
                </a:solidFill>
                <a:prstDash val="solid"/>
              </a:ln>
              <a:effectLst/>
            </p:spPr>
          </p:cxnSp>
          <p:cxnSp>
            <p:nvCxnSpPr>
              <p:cNvPr id="65" name="Gerader Verbinder 64">
                <a:extLst>
                  <a:ext uri="{FF2B5EF4-FFF2-40B4-BE49-F238E27FC236}">
                    <a16:creationId xmlns:a16="http://schemas.microsoft.com/office/drawing/2014/main" id="{E4700EBD-B774-346E-DF45-3925D6FEAC32}"/>
                  </a:ext>
                </a:extLst>
              </p:cNvPr>
              <p:cNvCxnSpPr/>
              <p:nvPr/>
            </p:nvCxnSpPr>
            <p:spPr>
              <a:xfrm>
                <a:off x="5306057" y="1894764"/>
                <a:ext cx="365371" cy="0"/>
              </a:xfrm>
              <a:prstGeom prst="line">
                <a:avLst/>
              </a:prstGeom>
              <a:noFill/>
              <a:ln w="9525" cap="flat" cmpd="sng" algn="ctr">
                <a:solidFill>
                  <a:srgbClr val="A4BCB5"/>
                </a:solidFill>
                <a:prstDash val="solid"/>
              </a:ln>
              <a:effectLst/>
            </p:spPr>
          </p:cxnSp>
          <p:cxnSp>
            <p:nvCxnSpPr>
              <p:cNvPr id="66" name="Gerader Verbinder 65">
                <a:extLst>
                  <a:ext uri="{FF2B5EF4-FFF2-40B4-BE49-F238E27FC236}">
                    <a16:creationId xmlns:a16="http://schemas.microsoft.com/office/drawing/2014/main" id="{77774ECE-B71A-140D-FD26-FE79C5570F26}"/>
                  </a:ext>
                </a:extLst>
              </p:cNvPr>
              <p:cNvCxnSpPr/>
              <p:nvPr/>
            </p:nvCxnSpPr>
            <p:spPr>
              <a:xfrm>
                <a:off x="5316676" y="1933293"/>
                <a:ext cx="315415" cy="0"/>
              </a:xfrm>
              <a:prstGeom prst="line">
                <a:avLst/>
              </a:prstGeom>
              <a:noFill/>
              <a:ln w="9525" cap="flat" cmpd="sng" algn="ctr">
                <a:solidFill>
                  <a:srgbClr val="A4BCB5"/>
                </a:solidFill>
                <a:prstDash val="solid"/>
              </a:ln>
              <a:effectLst/>
            </p:spPr>
          </p:cxnSp>
          <p:cxnSp>
            <p:nvCxnSpPr>
              <p:cNvPr id="67" name="Gerader Verbinder 66">
                <a:extLst>
                  <a:ext uri="{FF2B5EF4-FFF2-40B4-BE49-F238E27FC236}">
                    <a16:creationId xmlns:a16="http://schemas.microsoft.com/office/drawing/2014/main" id="{AF8B1EA1-D136-84A2-C8AF-05B3BB5B5096}"/>
                  </a:ext>
                </a:extLst>
              </p:cNvPr>
              <p:cNvCxnSpPr/>
              <p:nvPr/>
            </p:nvCxnSpPr>
            <p:spPr>
              <a:xfrm>
                <a:off x="7007313" y="1933293"/>
                <a:ext cx="324893" cy="0"/>
              </a:xfrm>
              <a:prstGeom prst="line">
                <a:avLst/>
              </a:prstGeom>
              <a:noFill/>
              <a:ln w="9525" cap="flat" cmpd="sng" algn="ctr">
                <a:solidFill>
                  <a:srgbClr val="A4BCB5"/>
                </a:solidFill>
                <a:prstDash val="solid"/>
              </a:ln>
              <a:effectLst/>
            </p:spPr>
          </p:cxnSp>
          <p:cxnSp>
            <p:nvCxnSpPr>
              <p:cNvPr id="68" name="Gerader Verbinder 67">
                <a:extLst>
                  <a:ext uri="{FF2B5EF4-FFF2-40B4-BE49-F238E27FC236}">
                    <a16:creationId xmlns:a16="http://schemas.microsoft.com/office/drawing/2014/main" id="{38CE0E2D-8CAD-0947-022E-553237051565}"/>
                  </a:ext>
                </a:extLst>
              </p:cNvPr>
              <p:cNvCxnSpPr/>
              <p:nvPr/>
            </p:nvCxnSpPr>
            <p:spPr>
              <a:xfrm>
                <a:off x="7007313" y="1973049"/>
                <a:ext cx="324893" cy="0"/>
              </a:xfrm>
              <a:prstGeom prst="line">
                <a:avLst/>
              </a:prstGeom>
              <a:noFill/>
              <a:ln w="9525" cap="flat" cmpd="sng" algn="ctr">
                <a:solidFill>
                  <a:srgbClr val="A4BCB5"/>
                </a:solidFill>
                <a:prstDash val="solid"/>
              </a:ln>
              <a:effectLst/>
            </p:spPr>
          </p:cxnSp>
          <p:cxnSp>
            <p:nvCxnSpPr>
              <p:cNvPr id="69" name="Gerader Verbinder 68">
                <a:extLst>
                  <a:ext uri="{FF2B5EF4-FFF2-40B4-BE49-F238E27FC236}">
                    <a16:creationId xmlns:a16="http://schemas.microsoft.com/office/drawing/2014/main" id="{AA279A37-9BFB-08C0-85D1-C26035095F1C}"/>
                  </a:ext>
                </a:extLst>
              </p:cNvPr>
              <p:cNvCxnSpPr/>
              <p:nvPr/>
            </p:nvCxnSpPr>
            <p:spPr>
              <a:xfrm>
                <a:off x="5317216" y="1973049"/>
                <a:ext cx="324893" cy="0"/>
              </a:xfrm>
              <a:prstGeom prst="line">
                <a:avLst/>
              </a:prstGeom>
              <a:noFill/>
              <a:ln w="9525" cap="flat" cmpd="sng" algn="ctr">
                <a:solidFill>
                  <a:srgbClr val="A4BCB5"/>
                </a:solidFill>
                <a:prstDash val="solid"/>
              </a:ln>
              <a:effectLst/>
            </p:spPr>
          </p:cxnSp>
        </p:grpSp>
        <p:grpSp>
          <p:nvGrpSpPr>
            <p:cNvPr id="25" name="Gruppieren 24">
              <a:extLst>
                <a:ext uri="{FF2B5EF4-FFF2-40B4-BE49-F238E27FC236}">
                  <a16:creationId xmlns:a16="http://schemas.microsoft.com/office/drawing/2014/main" id="{3FBE13FB-530B-D4E4-3557-F2F904647602}"/>
                </a:ext>
              </a:extLst>
            </p:cNvPr>
            <p:cNvGrpSpPr/>
            <p:nvPr/>
          </p:nvGrpSpPr>
          <p:grpSpPr>
            <a:xfrm>
              <a:off x="779655" y="1842651"/>
              <a:ext cx="526509" cy="354362"/>
              <a:chOff x="2238120" y="2713476"/>
              <a:chExt cx="526509" cy="354362"/>
            </a:xfrm>
          </p:grpSpPr>
          <p:sp>
            <p:nvSpPr>
              <p:cNvPr id="39" name="Pfeil nach unten 37">
                <a:extLst>
                  <a:ext uri="{FF2B5EF4-FFF2-40B4-BE49-F238E27FC236}">
                    <a16:creationId xmlns:a16="http://schemas.microsoft.com/office/drawing/2014/main" id="{72E3A3F1-1D99-992B-15AD-10A32985DB30}"/>
                  </a:ext>
                </a:extLst>
              </p:cNvPr>
              <p:cNvSpPr/>
              <p:nvPr/>
            </p:nvSpPr>
            <p:spPr>
              <a:xfrm>
                <a:off x="2565537" y="2792766"/>
                <a:ext cx="110347" cy="191549"/>
              </a:xfrm>
              <a:prstGeom prst="downArrow">
                <a:avLst/>
              </a:prstGeom>
              <a:solidFill>
                <a:srgbClr val="366F79"/>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white"/>
                  </a:solidFill>
                  <a:effectLst/>
                  <a:uLnTx/>
                  <a:uFillTx/>
                  <a:latin typeface="Arial"/>
                  <a:ea typeface="+mn-ea"/>
                  <a:cs typeface="+mn-cs"/>
                </a:endParaRPr>
              </a:p>
            </p:txBody>
          </p:sp>
          <p:sp>
            <p:nvSpPr>
              <p:cNvPr id="40" name="Pfeil nach unten 38">
                <a:extLst>
                  <a:ext uri="{FF2B5EF4-FFF2-40B4-BE49-F238E27FC236}">
                    <a16:creationId xmlns:a16="http://schemas.microsoft.com/office/drawing/2014/main" id="{EA498760-8B17-5E93-6649-34C2F3D8E69F}"/>
                  </a:ext>
                </a:extLst>
              </p:cNvPr>
              <p:cNvSpPr/>
              <p:nvPr/>
            </p:nvSpPr>
            <p:spPr>
              <a:xfrm rot="10800000">
                <a:off x="2293474" y="2769664"/>
                <a:ext cx="110347" cy="191549"/>
              </a:xfrm>
              <a:prstGeom prst="downArrow">
                <a:avLst/>
              </a:prstGeom>
              <a:solidFill>
                <a:srgbClr val="366F79"/>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a:ln>
                    <a:noFill/>
                  </a:ln>
                  <a:solidFill>
                    <a:prstClr val="white"/>
                  </a:solidFill>
                  <a:effectLst/>
                  <a:uLnTx/>
                  <a:uFillTx/>
                  <a:latin typeface="Arial"/>
                  <a:ea typeface="+mn-ea"/>
                  <a:cs typeface="+mn-cs"/>
                </a:endParaRPr>
              </a:p>
            </p:txBody>
          </p:sp>
          <p:pic>
            <p:nvPicPr>
              <p:cNvPr id="41" name="Grafik 40">
                <a:extLst>
                  <a:ext uri="{FF2B5EF4-FFF2-40B4-BE49-F238E27FC236}">
                    <a16:creationId xmlns:a16="http://schemas.microsoft.com/office/drawing/2014/main" id="{29F30B56-4236-EC43-5AD7-3A090918B0D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flipV="1">
                <a:off x="2238120" y="2713476"/>
                <a:ext cx="526509" cy="72753"/>
              </a:xfrm>
              <a:prstGeom prst="rect">
                <a:avLst/>
              </a:prstGeom>
            </p:spPr>
          </p:pic>
          <p:pic>
            <p:nvPicPr>
              <p:cNvPr id="42" name="Grafik 41">
                <a:extLst>
                  <a:ext uri="{FF2B5EF4-FFF2-40B4-BE49-F238E27FC236}">
                    <a16:creationId xmlns:a16="http://schemas.microsoft.com/office/drawing/2014/main" id="{FC0F9709-90B2-187A-E0D5-BBFC76D085A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0800000" flipV="1">
                <a:off x="2238120" y="2955461"/>
                <a:ext cx="526509" cy="72753"/>
              </a:xfrm>
              <a:prstGeom prst="rect">
                <a:avLst/>
              </a:prstGeom>
            </p:spPr>
          </p:pic>
          <p:pic>
            <p:nvPicPr>
              <p:cNvPr id="43" name="Grafik 42">
                <a:extLst>
                  <a:ext uri="{FF2B5EF4-FFF2-40B4-BE49-F238E27FC236}">
                    <a16:creationId xmlns:a16="http://schemas.microsoft.com/office/drawing/2014/main" id="{058FFBC1-E7C3-AE7F-091E-ECB09F9A193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10800000" flipV="1">
                <a:off x="2238120" y="2995085"/>
                <a:ext cx="526509" cy="72753"/>
              </a:xfrm>
              <a:prstGeom prst="rect">
                <a:avLst/>
              </a:prstGeom>
            </p:spPr>
          </p:pic>
        </p:grpSp>
        <p:pic>
          <p:nvPicPr>
            <p:cNvPr id="26" name="Grafik 25">
              <a:extLst>
                <a:ext uri="{FF2B5EF4-FFF2-40B4-BE49-F238E27FC236}">
                  <a16:creationId xmlns:a16="http://schemas.microsoft.com/office/drawing/2014/main" id="{E0E7B3AE-4365-A67E-303D-89D3910F270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88521" y="1840208"/>
              <a:ext cx="155355" cy="385444"/>
            </a:xfrm>
            <a:prstGeom prst="rect">
              <a:avLst/>
            </a:prstGeom>
          </p:spPr>
        </p:pic>
        <p:pic>
          <p:nvPicPr>
            <p:cNvPr id="27" name="Grafik 26">
              <a:extLst>
                <a:ext uri="{FF2B5EF4-FFF2-40B4-BE49-F238E27FC236}">
                  <a16:creationId xmlns:a16="http://schemas.microsoft.com/office/drawing/2014/main" id="{D5350525-71CE-6E61-B439-05541D08730A}"/>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84921" y="2887617"/>
              <a:ext cx="1251098" cy="843167"/>
            </a:xfrm>
            <a:prstGeom prst="rect">
              <a:avLst/>
            </a:prstGeom>
          </p:spPr>
        </p:pic>
        <p:pic>
          <p:nvPicPr>
            <p:cNvPr id="28" name="Grafik 27">
              <a:extLst>
                <a:ext uri="{FF2B5EF4-FFF2-40B4-BE49-F238E27FC236}">
                  <a16:creationId xmlns:a16="http://schemas.microsoft.com/office/drawing/2014/main" id="{B1EBCB06-647F-24C5-894D-4D4A2C3021A7}"/>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l="31782" t="-1136" r="552" b="1136"/>
            <a:stretch/>
          </p:blipFill>
          <p:spPr>
            <a:xfrm>
              <a:off x="2346506" y="2998237"/>
              <a:ext cx="510405" cy="754478"/>
            </a:xfrm>
            <a:prstGeom prst="rect">
              <a:avLst/>
            </a:prstGeom>
          </p:spPr>
        </p:pic>
        <p:pic>
          <p:nvPicPr>
            <p:cNvPr id="29" name="Grafik 28">
              <a:extLst>
                <a:ext uri="{FF2B5EF4-FFF2-40B4-BE49-F238E27FC236}">
                  <a16:creationId xmlns:a16="http://schemas.microsoft.com/office/drawing/2014/main" id="{24CC64D3-61C1-F498-B713-2C357EDA4B73}"/>
                </a:ext>
              </a:extLst>
            </p:cNvPr>
            <p:cNvPicPr>
              <a:picLocks noChangeAspect="1"/>
            </p:cNvPicPr>
            <p:nvPr/>
          </p:nvPicPr>
          <p:blipFill>
            <a:blip r:embed="rId12"/>
            <a:stretch>
              <a:fillRect/>
            </a:stretch>
          </p:blipFill>
          <p:spPr>
            <a:xfrm>
              <a:off x="1767890" y="1839555"/>
              <a:ext cx="368129" cy="428057"/>
            </a:xfrm>
            <a:prstGeom prst="rect">
              <a:avLst/>
            </a:prstGeom>
          </p:spPr>
        </p:pic>
        <p:pic>
          <p:nvPicPr>
            <p:cNvPr id="30" name="Grafik 29">
              <a:extLst>
                <a:ext uri="{FF2B5EF4-FFF2-40B4-BE49-F238E27FC236}">
                  <a16:creationId xmlns:a16="http://schemas.microsoft.com/office/drawing/2014/main" id="{EA1756F9-CBB0-DB46-E70E-B74E07744C6E}"/>
                </a:ext>
              </a:extLst>
            </p:cNvPr>
            <p:cNvPicPr>
              <a:picLocks noChangeAspect="1"/>
            </p:cNvPicPr>
            <p:nvPr/>
          </p:nvPicPr>
          <p:blipFill>
            <a:blip r:embed="rId13"/>
            <a:stretch>
              <a:fillRect/>
            </a:stretch>
          </p:blipFill>
          <p:spPr>
            <a:xfrm>
              <a:off x="5890460" y="2875050"/>
              <a:ext cx="741424" cy="871784"/>
            </a:xfrm>
            <a:prstGeom prst="rect">
              <a:avLst/>
            </a:prstGeom>
          </p:spPr>
        </p:pic>
        <p:cxnSp>
          <p:nvCxnSpPr>
            <p:cNvPr id="31" name="Gerade Verbindung mit Pfeil 30">
              <a:extLst>
                <a:ext uri="{FF2B5EF4-FFF2-40B4-BE49-F238E27FC236}">
                  <a16:creationId xmlns:a16="http://schemas.microsoft.com/office/drawing/2014/main" id="{7E71C86B-8EA9-12CF-07D2-FCF84E79E27D}"/>
                </a:ext>
              </a:extLst>
            </p:cNvPr>
            <p:cNvCxnSpPr>
              <a:cxnSpLocks/>
            </p:cNvCxnSpPr>
            <p:nvPr/>
          </p:nvCxnSpPr>
          <p:spPr>
            <a:xfrm>
              <a:off x="2279073" y="2339072"/>
              <a:ext cx="894312" cy="659165"/>
            </a:xfrm>
            <a:prstGeom prst="straightConnector1">
              <a:avLst/>
            </a:prstGeom>
            <a:noFill/>
            <a:ln w="9525" cap="flat" cmpd="sng" algn="ctr">
              <a:solidFill>
                <a:srgbClr val="000000"/>
              </a:solidFill>
              <a:prstDash val="solid"/>
              <a:headEnd type="triangle"/>
              <a:tailEnd type="triangle"/>
            </a:ln>
            <a:effectLst/>
          </p:spPr>
        </p:cxnSp>
        <p:cxnSp>
          <p:nvCxnSpPr>
            <p:cNvPr id="32" name="Gerade Verbindung mit Pfeil 31">
              <a:extLst>
                <a:ext uri="{FF2B5EF4-FFF2-40B4-BE49-F238E27FC236}">
                  <a16:creationId xmlns:a16="http://schemas.microsoft.com/office/drawing/2014/main" id="{D87915F3-172E-48B2-A39A-266375CD919D}"/>
                </a:ext>
              </a:extLst>
            </p:cNvPr>
            <p:cNvCxnSpPr>
              <a:cxnSpLocks/>
            </p:cNvCxnSpPr>
            <p:nvPr/>
          </p:nvCxnSpPr>
          <p:spPr>
            <a:xfrm flipH="1">
              <a:off x="5486254" y="2172120"/>
              <a:ext cx="863710" cy="741386"/>
            </a:xfrm>
            <a:prstGeom prst="straightConnector1">
              <a:avLst/>
            </a:prstGeom>
            <a:noFill/>
            <a:ln w="9525" cap="flat" cmpd="sng" algn="ctr">
              <a:solidFill>
                <a:srgbClr val="000000"/>
              </a:solidFill>
              <a:prstDash val="solid"/>
              <a:headEnd type="triangle"/>
              <a:tailEnd type="triangle"/>
            </a:ln>
            <a:effectLst/>
          </p:spPr>
        </p:cxnSp>
        <p:cxnSp>
          <p:nvCxnSpPr>
            <p:cNvPr id="33" name="Gerade Verbindung mit Pfeil 32">
              <a:extLst>
                <a:ext uri="{FF2B5EF4-FFF2-40B4-BE49-F238E27FC236}">
                  <a16:creationId xmlns:a16="http://schemas.microsoft.com/office/drawing/2014/main" id="{A1A967E2-53A2-2328-389A-9AD42915284A}"/>
                </a:ext>
              </a:extLst>
            </p:cNvPr>
            <p:cNvCxnSpPr>
              <a:cxnSpLocks/>
            </p:cNvCxnSpPr>
            <p:nvPr/>
          </p:nvCxnSpPr>
          <p:spPr>
            <a:xfrm>
              <a:off x="2264644" y="1938029"/>
              <a:ext cx="525137" cy="5062"/>
            </a:xfrm>
            <a:prstGeom prst="straightConnector1">
              <a:avLst/>
            </a:prstGeom>
            <a:noFill/>
            <a:ln w="9525" cap="flat" cmpd="sng" algn="ctr">
              <a:solidFill>
                <a:srgbClr val="000000"/>
              </a:solidFill>
              <a:prstDash val="solid"/>
              <a:headEnd type="triangle"/>
              <a:tailEnd type="triangle"/>
            </a:ln>
            <a:effectLst/>
          </p:spPr>
        </p:cxnSp>
        <p:cxnSp>
          <p:nvCxnSpPr>
            <p:cNvPr id="34" name="Gerade Verbindung mit Pfeil 33">
              <a:extLst>
                <a:ext uri="{FF2B5EF4-FFF2-40B4-BE49-F238E27FC236}">
                  <a16:creationId xmlns:a16="http://schemas.microsoft.com/office/drawing/2014/main" id="{4169C5A4-F49A-AB92-C930-046609D8D0C4}"/>
                </a:ext>
              </a:extLst>
            </p:cNvPr>
            <p:cNvCxnSpPr>
              <a:cxnSpLocks/>
            </p:cNvCxnSpPr>
            <p:nvPr/>
          </p:nvCxnSpPr>
          <p:spPr>
            <a:xfrm>
              <a:off x="5550344" y="1994613"/>
              <a:ext cx="732834" cy="0"/>
            </a:xfrm>
            <a:prstGeom prst="straightConnector1">
              <a:avLst/>
            </a:prstGeom>
            <a:noFill/>
            <a:ln w="9525" cap="flat" cmpd="sng" algn="ctr">
              <a:solidFill>
                <a:srgbClr val="000000"/>
              </a:solidFill>
              <a:prstDash val="solid"/>
              <a:headEnd type="triangle"/>
              <a:tailEnd type="triangle"/>
            </a:ln>
            <a:effectLst/>
          </p:spPr>
        </p:cxnSp>
        <p:cxnSp>
          <p:nvCxnSpPr>
            <p:cNvPr id="35" name="Gerade Verbindung mit Pfeil 34">
              <a:extLst>
                <a:ext uri="{FF2B5EF4-FFF2-40B4-BE49-F238E27FC236}">
                  <a16:creationId xmlns:a16="http://schemas.microsoft.com/office/drawing/2014/main" id="{3752208C-20F7-C9DB-BF6C-D40E2B450905}"/>
                </a:ext>
              </a:extLst>
            </p:cNvPr>
            <p:cNvCxnSpPr>
              <a:cxnSpLocks/>
            </p:cNvCxnSpPr>
            <p:nvPr/>
          </p:nvCxnSpPr>
          <p:spPr>
            <a:xfrm>
              <a:off x="2264644" y="1724060"/>
              <a:ext cx="4026424" cy="28057"/>
            </a:xfrm>
            <a:prstGeom prst="straightConnector1">
              <a:avLst/>
            </a:prstGeom>
            <a:noFill/>
            <a:ln w="9525" cap="flat" cmpd="sng" algn="ctr">
              <a:solidFill>
                <a:srgbClr val="000000"/>
              </a:solidFill>
              <a:prstDash val="solid"/>
              <a:headEnd type="triangle"/>
              <a:tailEnd type="triangle"/>
            </a:ln>
            <a:effectLst/>
          </p:spPr>
        </p:cxnSp>
        <p:cxnSp>
          <p:nvCxnSpPr>
            <p:cNvPr id="36" name="Gerade Verbindung mit Pfeil 35">
              <a:extLst>
                <a:ext uri="{FF2B5EF4-FFF2-40B4-BE49-F238E27FC236}">
                  <a16:creationId xmlns:a16="http://schemas.microsoft.com/office/drawing/2014/main" id="{E2EC0526-C24F-DD23-EDC9-C6B2AA68046F}"/>
                </a:ext>
              </a:extLst>
            </p:cNvPr>
            <p:cNvCxnSpPr>
              <a:cxnSpLocks/>
            </p:cNvCxnSpPr>
            <p:nvPr/>
          </p:nvCxnSpPr>
          <p:spPr>
            <a:xfrm>
              <a:off x="4189283" y="2316967"/>
              <a:ext cx="0" cy="225846"/>
            </a:xfrm>
            <a:prstGeom prst="straightConnector1">
              <a:avLst/>
            </a:prstGeom>
            <a:noFill/>
            <a:ln w="9525" cap="flat" cmpd="sng" algn="ctr">
              <a:solidFill>
                <a:srgbClr val="000000"/>
              </a:solidFill>
              <a:prstDash val="solid"/>
              <a:headEnd type="triangle"/>
              <a:tailEnd type="triangle"/>
            </a:ln>
            <a:effectLst/>
          </p:spPr>
        </p:cxnSp>
        <p:cxnSp>
          <p:nvCxnSpPr>
            <p:cNvPr id="37" name="Gerade Verbindung mit Pfeil 36">
              <a:extLst>
                <a:ext uri="{FF2B5EF4-FFF2-40B4-BE49-F238E27FC236}">
                  <a16:creationId xmlns:a16="http://schemas.microsoft.com/office/drawing/2014/main" id="{AA04B4BE-BD90-5167-BCDD-CD15555400FF}"/>
                </a:ext>
              </a:extLst>
            </p:cNvPr>
            <p:cNvCxnSpPr>
              <a:cxnSpLocks/>
            </p:cNvCxnSpPr>
            <p:nvPr/>
          </p:nvCxnSpPr>
          <p:spPr>
            <a:xfrm flipH="1">
              <a:off x="2957945" y="3438898"/>
              <a:ext cx="394855" cy="218702"/>
            </a:xfrm>
            <a:prstGeom prst="straightConnector1">
              <a:avLst/>
            </a:prstGeom>
            <a:noFill/>
            <a:ln w="9525" cap="flat" cmpd="sng" algn="ctr">
              <a:solidFill>
                <a:srgbClr val="000000"/>
              </a:solidFill>
              <a:prstDash val="solid"/>
              <a:tailEnd type="triangle"/>
            </a:ln>
            <a:effectLst/>
          </p:spPr>
        </p:cxnSp>
        <p:cxnSp>
          <p:nvCxnSpPr>
            <p:cNvPr id="38" name="Gerade Verbindung mit Pfeil 37">
              <a:extLst>
                <a:ext uri="{FF2B5EF4-FFF2-40B4-BE49-F238E27FC236}">
                  <a16:creationId xmlns:a16="http://schemas.microsoft.com/office/drawing/2014/main" id="{75570C51-D086-CFFD-E4A1-10AD4A168DD8}"/>
                </a:ext>
              </a:extLst>
            </p:cNvPr>
            <p:cNvCxnSpPr>
              <a:cxnSpLocks/>
            </p:cNvCxnSpPr>
            <p:nvPr/>
          </p:nvCxnSpPr>
          <p:spPr>
            <a:xfrm>
              <a:off x="5279155" y="3486693"/>
              <a:ext cx="426753" cy="275100"/>
            </a:xfrm>
            <a:prstGeom prst="straightConnector1">
              <a:avLst/>
            </a:prstGeom>
            <a:noFill/>
            <a:ln w="9525" cap="flat" cmpd="sng" algn="ctr">
              <a:solidFill>
                <a:srgbClr val="000000"/>
              </a:solidFill>
              <a:prstDash val="solid"/>
              <a:tailEnd type="triangle"/>
            </a:ln>
            <a:effectLst/>
          </p:spPr>
        </p:cxnSp>
      </p:grpSp>
      <p:sp>
        <p:nvSpPr>
          <p:cNvPr id="3" name="Ellipse 2">
            <a:extLst>
              <a:ext uri="{FF2B5EF4-FFF2-40B4-BE49-F238E27FC236}">
                <a16:creationId xmlns:a16="http://schemas.microsoft.com/office/drawing/2014/main" id="{DD20A473-C7D3-33F5-9416-F01FF098784C}"/>
              </a:ext>
            </a:extLst>
          </p:cNvPr>
          <p:cNvSpPr/>
          <p:nvPr/>
        </p:nvSpPr>
        <p:spPr bwMode="auto">
          <a:xfrm>
            <a:off x="4146701" y="2406018"/>
            <a:ext cx="1036974" cy="891633"/>
          </a:xfrm>
          <a:prstGeom prst="ellipse">
            <a:avLst/>
          </a:prstGeom>
          <a:noFill/>
          <a:ln w="76200" cap="flat" cmpd="sng" algn="ctr">
            <a:solidFill>
              <a:srgbClr val="FF0000"/>
            </a:solid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b="0" i="0" u="none" strike="noStrike" cap="none" normalizeH="0" baseline="0" dirty="0" err="1">
              <a:ln>
                <a:noFill/>
              </a:ln>
              <a:solidFill>
                <a:schemeClr val="tx1"/>
              </a:solidFill>
              <a:effectLst/>
              <a:latin typeface="Arial" charset="0"/>
              <a:ea typeface="MS PGothic" pitchFamily="34" charset="-128"/>
            </a:endParaRPr>
          </a:p>
        </p:txBody>
      </p:sp>
      <p:sp>
        <p:nvSpPr>
          <p:cNvPr id="6" name="Ellipse 5">
            <a:extLst>
              <a:ext uri="{FF2B5EF4-FFF2-40B4-BE49-F238E27FC236}">
                <a16:creationId xmlns:a16="http://schemas.microsoft.com/office/drawing/2014/main" id="{095883B0-FE53-C7F2-0429-BED382BE8F53}"/>
              </a:ext>
            </a:extLst>
          </p:cNvPr>
          <p:cNvSpPr/>
          <p:nvPr/>
        </p:nvSpPr>
        <p:spPr bwMode="auto">
          <a:xfrm>
            <a:off x="1264072" y="2427784"/>
            <a:ext cx="1036974" cy="891633"/>
          </a:xfrm>
          <a:prstGeom prst="ellipse">
            <a:avLst/>
          </a:prstGeom>
          <a:noFill/>
          <a:ln w="76200" cap="flat" cmpd="sng" algn="ctr">
            <a:solidFill>
              <a:srgbClr val="FF0000"/>
            </a:solidFill>
            <a:prstDash val="solid"/>
            <a:round/>
            <a:headEnd type="none" w="med" len="med"/>
            <a:tailEnd type="none" w="med" len="med"/>
          </a:ln>
          <a:effectLst/>
        </p:spPr>
        <p:txBody>
          <a:bodyPr vert="horz" wrap="square" lIns="180000" tIns="180000" rIns="180000" bIns="1800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de-AT" b="0" i="0" u="none" strike="noStrike" cap="none" normalizeH="0" baseline="0" dirty="0" err="1">
              <a:ln>
                <a:noFill/>
              </a:ln>
              <a:solidFill>
                <a:schemeClr val="tx1"/>
              </a:solidFill>
              <a:effectLst/>
              <a:latin typeface="Arial" charset="0"/>
              <a:ea typeface="MS PGothic" pitchFamily="34" charset="-128"/>
            </a:endParaRPr>
          </a:p>
        </p:txBody>
      </p:sp>
      <p:sp>
        <p:nvSpPr>
          <p:cNvPr id="7" name="Textfeld 6">
            <a:extLst>
              <a:ext uri="{FF2B5EF4-FFF2-40B4-BE49-F238E27FC236}">
                <a16:creationId xmlns:a16="http://schemas.microsoft.com/office/drawing/2014/main" id="{8785CA6D-828A-BC17-E260-7212E4640272}"/>
              </a:ext>
            </a:extLst>
          </p:cNvPr>
          <p:cNvSpPr txBox="1"/>
          <p:nvPr/>
        </p:nvSpPr>
        <p:spPr>
          <a:xfrm>
            <a:off x="835145" y="3444460"/>
            <a:ext cx="1863575" cy="455574"/>
          </a:xfrm>
          <a:prstGeom prst="rect">
            <a:avLst/>
          </a:prstGeom>
          <a:noFill/>
        </p:spPr>
        <p:txBody>
          <a:bodyPr wrap="square" lIns="0" tIns="0" rIns="0" bIns="0" rtlCol="0">
            <a:spAutoFit/>
          </a:bodyPr>
          <a:lstStyle/>
          <a:p>
            <a:pPr algn="ctr">
              <a:lnSpc>
                <a:spcPct val="110000"/>
              </a:lnSpc>
            </a:pPr>
            <a:r>
              <a:rPr lang="en-GB" sz="1400" b="1" dirty="0">
                <a:solidFill>
                  <a:srgbClr val="FF0000"/>
                </a:solidFill>
              </a:rPr>
              <a:t>Storage-/Pumped Storage Power Plants</a:t>
            </a:r>
          </a:p>
        </p:txBody>
      </p:sp>
      <p:sp>
        <p:nvSpPr>
          <p:cNvPr id="8" name="Textfeld 7">
            <a:extLst>
              <a:ext uri="{FF2B5EF4-FFF2-40B4-BE49-F238E27FC236}">
                <a16:creationId xmlns:a16="http://schemas.microsoft.com/office/drawing/2014/main" id="{9B8D4B22-05A4-21F4-2DD9-DDB62B9259CE}"/>
              </a:ext>
            </a:extLst>
          </p:cNvPr>
          <p:cNvSpPr txBox="1"/>
          <p:nvPr/>
        </p:nvSpPr>
        <p:spPr>
          <a:xfrm>
            <a:off x="3967299" y="3396494"/>
            <a:ext cx="1473088" cy="455574"/>
          </a:xfrm>
          <a:prstGeom prst="rect">
            <a:avLst/>
          </a:prstGeom>
          <a:noFill/>
        </p:spPr>
        <p:txBody>
          <a:bodyPr wrap="square" lIns="0" tIns="0" rIns="0" bIns="0" rtlCol="0">
            <a:spAutoFit/>
          </a:bodyPr>
          <a:lstStyle/>
          <a:p>
            <a:pPr algn="ctr">
              <a:lnSpc>
                <a:spcPct val="110000"/>
              </a:lnSpc>
            </a:pPr>
            <a:r>
              <a:rPr lang="en-GB" sz="1400" b="1" dirty="0">
                <a:solidFill>
                  <a:srgbClr val="FF0000"/>
                </a:solidFill>
              </a:rPr>
              <a:t>Run Off River Plants</a:t>
            </a:r>
          </a:p>
        </p:txBody>
      </p:sp>
    </p:spTree>
    <p:extLst>
      <p:ext uri="{BB962C8B-B14F-4D97-AF65-F5344CB8AC3E}">
        <p14:creationId xmlns:p14="http://schemas.microsoft.com/office/powerpoint/2010/main" val="3504863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744847CC-DDBC-F5F5-D38D-84987F0CF14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482777" y="2075274"/>
            <a:ext cx="5223138" cy="2901628"/>
          </a:xfrm>
          <a:prstGeom prst="rect">
            <a:avLst/>
          </a:prstGeom>
          <a:ln>
            <a:noFill/>
          </a:ln>
        </p:spPr>
      </p:pic>
      <p:graphicFrame>
        <p:nvGraphicFramePr>
          <p:cNvPr id="8" name="Objekt 7" hidden="1">
            <a:extLst>
              <a:ext uri="{FF2B5EF4-FFF2-40B4-BE49-F238E27FC236}">
                <a16:creationId xmlns:a16="http://schemas.microsoft.com/office/drawing/2014/main" id="{48E921E5-AEB3-599A-0D78-667C1C94A42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1" imgH="381" progId="TCLayout.ActiveDocument.1">
                  <p:embed/>
                </p:oleObj>
              </mc:Choice>
              <mc:Fallback>
                <p:oleObj name="think-cell Folie" r:id="rId4" imgW="381" imgH="381" progId="TCLayout.ActiveDocument.1">
                  <p:embed/>
                  <p:pic>
                    <p:nvPicPr>
                      <p:cNvPr id="8" name="Objekt 7" hidden="1">
                        <a:extLst>
                          <a:ext uri="{FF2B5EF4-FFF2-40B4-BE49-F238E27FC236}">
                            <a16:creationId xmlns:a16="http://schemas.microsoft.com/office/drawing/2014/main" id="{48E921E5-AEB3-599A-0D78-667C1C94A4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9154AC43-53DF-32B1-0FAA-3821E36D6173}"/>
              </a:ext>
            </a:extLst>
          </p:cNvPr>
          <p:cNvSpPr>
            <a:spLocks noGrp="1"/>
          </p:cNvSpPr>
          <p:nvPr>
            <p:ph type="title"/>
          </p:nvPr>
        </p:nvSpPr>
        <p:spPr>
          <a:xfrm>
            <a:off x="189691" y="188513"/>
            <a:ext cx="11809473" cy="706311"/>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GB" dirty="0">
                <a:solidFill>
                  <a:schemeClr val="bg1"/>
                </a:solidFill>
              </a:rPr>
              <a:t>Current Hydropower Projects of VERBUND</a:t>
            </a:r>
          </a:p>
        </p:txBody>
      </p:sp>
      <p:sp>
        <p:nvSpPr>
          <p:cNvPr id="7" name="Inhaltsplatzhalter 1">
            <a:extLst>
              <a:ext uri="{FF2B5EF4-FFF2-40B4-BE49-F238E27FC236}">
                <a16:creationId xmlns:a16="http://schemas.microsoft.com/office/drawing/2014/main" id="{11BC3BB3-EA03-188C-EE68-61C48089E401}"/>
              </a:ext>
            </a:extLst>
          </p:cNvPr>
          <p:cNvSpPr txBox="1">
            <a:spLocks/>
          </p:cNvSpPr>
          <p:nvPr/>
        </p:nvSpPr>
        <p:spPr bwMode="auto">
          <a:xfrm>
            <a:off x="544025" y="5634377"/>
            <a:ext cx="2160000" cy="457201"/>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defTabSz="1219170"/>
            <a:r>
              <a:rPr lang="en-GB" sz="1333" b="1" dirty="0" err="1">
                <a:solidFill>
                  <a:srgbClr val="000000"/>
                </a:solidFill>
                <a:latin typeface="Arial"/>
                <a:ea typeface="MS PGothic"/>
              </a:rPr>
              <a:t>Limberg</a:t>
            </a:r>
            <a:r>
              <a:rPr lang="en-GB" sz="1333" b="1" dirty="0">
                <a:solidFill>
                  <a:srgbClr val="000000"/>
                </a:solidFill>
                <a:latin typeface="Arial"/>
                <a:ea typeface="MS PGothic"/>
              </a:rPr>
              <a:t> III </a:t>
            </a:r>
            <a:br>
              <a:rPr lang="en-GB" sz="1333" b="1" dirty="0">
                <a:solidFill>
                  <a:srgbClr val="000000"/>
                </a:solidFill>
                <a:latin typeface="Arial"/>
                <a:ea typeface="MS PGothic"/>
              </a:rPr>
            </a:br>
            <a:r>
              <a:rPr lang="en-GB" sz="1067" dirty="0">
                <a:solidFill>
                  <a:srgbClr val="000000"/>
                </a:solidFill>
                <a:latin typeface="Arial"/>
                <a:ea typeface="MS PGothic"/>
              </a:rPr>
              <a:t>480 MW; extension</a:t>
            </a:r>
          </a:p>
        </p:txBody>
      </p:sp>
      <p:sp>
        <p:nvSpPr>
          <p:cNvPr id="9" name="Inhaltsplatzhalter 1">
            <a:extLst>
              <a:ext uri="{FF2B5EF4-FFF2-40B4-BE49-F238E27FC236}">
                <a16:creationId xmlns:a16="http://schemas.microsoft.com/office/drawing/2014/main" id="{8208CBB3-2A62-300B-2A56-CBDB11E7280B}"/>
              </a:ext>
            </a:extLst>
          </p:cNvPr>
          <p:cNvSpPr txBox="1">
            <a:spLocks/>
          </p:cNvSpPr>
          <p:nvPr/>
        </p:nvSpPr>
        <p:spPr bwMode="auto">
          <a:xfrm>
            <a:off x="9510127" y="4215655"/>
            <a:ext cx="2160000" cy="768000"/>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defTabSz="1219170"/>
            <a:r>
              <a:rPr lang="en-GB" sz="1333" b="1" dirty="0" err="1">
                <a:solidFill>
                  <a:srgbClr val="000000"/>
                </a:solidFill>
                <a:latin typeface="Arial"/>
                <a:ea typeface="MS PGothic"/>
              </a:rPr>
              <a:t>Gratkorn</a:t>
            </a:r>
            <a:br>
              <a:rPr lang="en-GB" sz="1333" dirty="0">
                <a:solidFill>
                  <a:srgbClr val="000000"/>
                </a:solidFill>
                <a:latin typeface="Arial"/>
                <a:ea typeface="MS PGothic"/>
              </a:rPr>
            </a:br>
            <a:r>
              <a:rPr lang="en-GB" sz="1067" dirty="0">
                <a:solidFill>
                  <a:srgbClr val="000000"/>
                </a:solidFill>
                <a:latin typeface="Arial"/>
                <a:ea typeface="MS PGothic"/>
              </a:rPr>
              <a:t>54 GWh, 11 MW</a:t>
            </a:r>
          </a:p>
          <a:p>
            <a:pPr defTabSz="1219170"/>
            <a:r>
              <a:rPr lang="en-GB" sz="1067" dirty="0">
                <a:solidFill>
                  <a:srgbClr val="000000"/>
                </a:solidFill>
                <a:latin typeface="Arial"/>
                <a:ea typeface="MS PGothic"/>
              </a:rPr>
              <a:t>Greenfield (50 % VERBUND)</a:t>
            </a:r>
          </a:p>
        </p:txBody>
      </p:sp>
      <p:cxnSp>
        <p:nvCxnSpPr>
          <p:cNvPr id="11" name="Gewinkelter Verbinder 20">
            <a:extLst>
              <a:ext uri="{FF2B5EF4-FFF2-40B4-BE49-F238E27FC236}">
                <a16:creationId xmlns:a16="http://schemas.microsoft.com/office/drawing/2014/main" id="{1D4E0449-8B16-638B-F666-858E3428420F}"/>
              </a:ext>
            </a:extLst>
          </p:cNvPr>
          <p:cNvCxnSpPr>
            <a:cxnSpLocks/>
            <a:stCxn id="67" idx="4"/>
          </p:cNvCxnSpPr>
          <p:nvPr/>
        </p:nvCxnSpPr>
        <p:spPr bwMode="auto">
          <a:xfrm flipH="1" flipV="1">
            <a:off x="2746324" y="2466964"/>
            <a:ext cx="3186715" cy="1281822"/>
          </a:xfrm>
          <a:prstGeom prst="bentConnector3">
            <a:avLst>
              <a:gd name="adj1" fmla="val 60857"/>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Gerade Verbindung 167">
            <a:extLst>
              <a:ext uri="{FF2B5EF4-FFF2-40B4-BE49-F238E27FC236}">
                <a16:creationId xmlns:a16="http://schemas.microsoft.com/office/drawing/2014/main" id="{DCEB28AE-CF79-377B-B42E-2EF88C3F6015}"/>
              </a:ext>
            </a:extLst>
          </p:cNvPr>
          <p:cNvCxnSpPr/>
          <p:nvPr/>
        </p:nvCxnSpPr>
        <p:spPr bwMode="auto">
          <a:xfrm>
            <a:off x="2795174" y="1894417"/>
            <a:ext cx="2668251"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Inhaltsplatzhalter 1">
            <a:extLst>
              <a:ext uri="{FF2B5EF4-FFF2-40B4-BE49-F238E27FC236}">
                <a16:creationId xmlns:a16="http://schemas.microsoft.com/office/drawing/2014/main" id="{179E9E04-BBC6-378C-9093-2458D9010E68}"/>
              </a:ext>
            </a:extLst>
          </p:cNvPr>
          <p:cNvSpPr txBox="1">
            <a:spLocks/>
          </p:cNvSpPr>
          <p:nvPr/>
        </p:nvSpPr>
        <p:spPr bwMode="auto">
          <a:xfrm>
            <a:off x="2777285" y="1006588"/>
            <a:ext cx="2686140" cy="875133"/>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defTabSz="1219170"/>
            <a:r>
              <a:rPr lang="en-GB" sz="1333" b="1" dirty="0">
                <a:solidFill>
                  <a:srgbClr val="000000"/>
                </a:solidFill>
                <a:latin typeface="Arial"/>
                <a:ea typeface="MS PGothic"/>
              </a:rPr>
              <a:t>4 </a:t>
            </a:r>
            <a:r>
              <a:rPr kumimoji="0" lang="en-GB" sz="1333" b="1" i="0" u="none" strike="noStrike" kern="1200" cap="none" spc="0" normalizeH="0" baseline="0" noProof="0" dirty="0">
                <a:ln>
                  <a:noFill/>
                </a:ln>
                <a:solidFill>
                  <a:srgbClr val="000000"/>
                </a:solidFill>
                <a:effectLst/>
                <a:uLnTx/>
                <a:uFillTx/>
                <a:latin typeface="Arial"/>
                <a:ea typeface="MS PGothic"/>
              </a:rPr>
              <a:t>Refurbishments</a:t>
            </a:r>
            <a:r>
              <a:rPr lang="en-GB" sz="1333" b="1" dirty="0">
                <a:solidFill>
                  <a:srgbClr val="000000"/>
                </a:solidFill>
                <a:latin typeface="Arial"/>
                <a:ea typeface="MS PGothic"/>
              </a:rPr>
              <a:t> Inn</a:t>
            </a:r>
            <a:r>
              <a:rPr lang="en-GB" sz="1333" dirty="0">
                <a:solidFill>
                  <a:srgbClr val="000000"/>
                </a:solidFill>
                <a:latin typeface="Arial"/>
                <a:ea typeface="MS PGothic"/>
              </a:rPr>
              <a:t> </a:t>
            </a:r>
            <a:br>
              <a:rPr lang="en-GB" sz="1333" dirty="0">
                <a:solidFill>
                  <a:srgbClr val="000000"/>
                </a:solidFill>
                <a:latin typeface="Arial"/>
                <a:ea typeface="MS PGothic"/>
              </a:rPr>
            </a:br>
            <a:r>
              <a:rPr lang="en-GB" sz="1067" dirty="0">
                <a:solidFill>
                  <a:srgbClr val="000000"/>
                </a:solidFill>
                <a:latin typeface="Arial"/>
                <a:ea typeface="MS PGothic"/>
              </a:rPr>
              <a:t>+156 GWh, +37,5 MW</a:t>
            </a:r>
          </a:p>
          <a:p>
            <a:pPr defTabSz="1219170"/>
            <a:r>
              <a:rPr lang="en-GB" sz="1067" dirty="0" err="1">
                <a:solidFill>
                  <a:srgbClr val="000000"/>
                </a:solidFill>
                <a:latin typeface="Arial"/>
                <a:ea typeface="MS PGothic"/>
              </a:rPr>
              <a:t>Ering-Frauenstein</a:t>
            </a:r>
            <a:r>
              <a:rPr lang="en-GB" sz="1067" dirty="0">
                <a:solidFill>
                  <a:srgbClr val="000000"/>
                </a:solidFill>
                <a:latin typeface="Arial"/>
                <a:ea typeface="MS PGothic"/>
              </a:rPr>
              <a:t>, </a:t>
            </a:r>
            <a:r>
              <a:rPr lang="en-GB" sz="1067" dirty="0" err="1">
                <a:solidFill>
                  <a:srgbClr val="000000"/>
                </a:solidFill>
                <a:latin typeface="Arial"/>
                <a:ea typeface="MS PGothic"/>
              </a:rPr>
              <a:t>Egglfing-Obernberg</a:t>
            </a:r>
            <a:r>
              <a:rPr lang="en-GB" sz="1067" dirty="0">
                <a:solidFill>
                  <a:srgbClr val="000000"/>
                </a:solidFill>
                <a:latin typeface="Arial"/>
                <a:ea typeface="MS PGothic"/>
              </a:rPr>
              <a:t>,</a:t>
            </a:r>
            <a:br>
              <a:rPr lang="en-GB" sz="1067" dirty="0">
                <a:solidFill>
                  <a:srgbClr val="000000"/>
                </a:solidFill>
                <a:latin typeface="Arial"/>
                <a:ea typeface="MS PGothic"/>
              </a:rPr>
            </a:br>
            <a:r>
              <a:rPr lang="en-GB" sz="1067" dirty="0" err="1">
                <a:solidFill>
                  <a:srgbClr val="000000"/>
                </a:solidFill>
                <a:latin typeface="Arial"/>
                <a:ea typeface="MS PGothic"/>
              </a:rPr>
              <a:t>Braunau-Simbach</a:t>
            </a:r>
            <a:r>
              <a:rPr lang="en-GB" sz="1067" dirty="0">
                <a:solidFill>
                  <a:srgbClr val="000000"/>
                </a:solidFill>
                <a:latin typeface="Arial"/>
                <a:ea typeface="MS PGothic"/>
              </a:rPr>
              <a:t>, Rosenheim</a:t>
            </a:r>
          </a:p>
        </p:txBody>
      </p:sp>
      <p:sp>
        <p:nvSpPr>
          <p:cNvPr id="16" name="Inhaltsplatzhalter 1">
            <a:extLst>
              <a:ext uri="{FF2B5EF4-FFF2-40B4-BE49-F238E27FC236}">
                <a16:creationId xmlns:a16="http://schemas.microsoft.com/office/drawing/2014/main" id="{AF4A5B29-B170-F5F4-E40E-85C4A29B7EA1}"/>
              </a:ext>
            </a:extLst>
          </p:cNvPr>
          <p:cNvSpPr txBox="1">
            <a:spLocks/>
          </p:cNvSpPr>
          <p:nvPr/>
        </p:nvSpPr>
        <p:spPr bwMode="auto">
          <a:xfrm>
            <a:off x="9519658" y="3354635"/>
            <a:ext cx="2160000" cy="750204"/>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defTabSz="1219170"/>
            <a:r>
              <a:rPr lang="en-GB" sz="1333" b="1" dirty="0">
                <a:solidFill>
                  <a:schemeClr val="accent6">
                    <a:lumMod val="50000"/>
                  </a:schemeClr>
                </a:solidFill>
                <a:latin typeface="Arial"/>
                <a:ea typeface="MS PGothic"/>
              </a:rPr>
              <a:t>1 </a:t>
            </a:r>
            <a:r>
              <a:rPr kumimoji="0" lang="en-GB" sz="1333" b="1" i="0" u="none" strike="noStrike" kern="1200" cap="none" spc="0" normalizeH="0" baseline="0" noProof="0" dirty="0">
                <a:ln>
                  <a:noFill/>
                </a:ln>
                <a:solidFill>
                  <a:srgbClr val="000000"/>
                </a:solidFill>
                <a:effectLst/>
                <a:uLnTx/>
                <a:uFillTx/>
                <a:latin typeface="Arial"/>
                <a:ea typeface="MS PGothic"/>
              </a:rPr>
              <a:t>Refurbishment</a:t>
            </a:r>
            <a:r>
              <a:rPr lang="en-GB" sz="1333" b="1" dirty="0">
                <a:solidFill>
                  <a:schemeClr val="accent6">
                    <a:lumMod val="50000"/>
                  </a:schemeClr>
                </a:solidFill>
                <a:latin typeface="Arial"/>
                <a:ea typeface="MS PGothic"/>
              </a:rPr>
              <a:t> Mur</a:t>
            </a:r>
            <a:br>
              <a:rPr lang="en-GB" sz="1333" dirty="0">
                <a:solidFill>
                  <a:schemeClr val="accent6">
                    <a:lumMod val="50000"/>
                  </a:schemeClr>
                </a:solidFill>
                <a:latin typeface="Arial"/>
                <a:ea typeface="MS PGothic"/>
              </a:rPr>
            </a:br>
            <a:r>
              <a:rPr lang="en-GB" sz="1067" dirty="0">
                <a:solidFill>
                  <a:schemeClr val="accent6">
                    <a:lumMod val="50000"/>
                  </a:schemeClr>
                </a:solidFill>
                <a:latin typeface="Arial"/>
                <a:ea typeface="MS PGothic"/>
              </a:rPr>
              <a:t>+21,8 GWh, +6,3 MW</a:t>
            </a:r>
            <a:br>
              <a:rPr lang="en-GB" sz="1067" dirty="0">
                <a:solidFill>
                  <a:schemeClr val="accent6">
                    <a:lumMod val="50000"/>
                  </a:schemeClr>
                </a:solidFill>
                <a:latin typeface="Arial"/>
                <a:ea typeface="MS PGothic"/>
              </a:rPr>
            </a:br>
            <a:r>
              <a:rPr lang="en-GB" sz="1067" dirty="0" err="1">
                <a:solidFill>
                  <a:schemeClr val="accent6">
                    <a:lumMod val="50000"/>
                  </a:schemeClr>
                </a:solidFill>
                <a:latin typeface="Arial"/>
                <a:ea typeface="MS PGothic"/>
              </a:rPr>
              <a:t>Laufnitzdorf</a:t>
            </a:r>
            <a:endParaRPr lang="en-GB" sz="1067" dirty="0">
              <a:solidFill>
                <a:schemeClr val="accent6">
                  <a:lumMod val="50000"/>
                </a:schemeClr>
              </a:solidFill>
              <a:latin typeface="Arial"/>
              <a:ea typeface="MS PGothic"/>
            </a:endParaRPr>
          </a:p>
        </p:txBody>
      </p:sp>
      <p:sp>
        <p:nvSpPr>
          <p:cNvPr id="17" name="Inhaltsplatzhalter 1">
            <a:extLst>
              <a:ext uri="{FF2B5EF4-FFF2-40B4-BE49-F238E27FC236}">
                <a16:creationId xmlns:a16="http://schemas.microsoft.com/office/drawing/2014/main" id="{9F11BBFE-3C70-E7CA-EB77-70C1BC0CD9CF}"/>
              </a:ext>
            </a:extLst>
          </p:cNvPr>
          <p:cNvSpPr txBox="1">
            <a:spLocks/>
          </p:cNvSpPr>
          <p:nvPr/>
        </p:nvSpPr>
        <p:spPr bwMode="auto">
          <a:xfrm>
            <a:off x="6729674" y="5229127"/>
            <a:ext cx="2665335" cy="862903"/>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defTabSz="1219170"/>
            <a:r>
              <a:rPr lang="en-GB" sz="1333" b="1" dirty="0">
                <a:solidFill>
                  <a:srgbClr val="000000"/>
                </a:solidFill>
                <a:latin typeface="Arial"/>
                <a:ea typeface="MS PGothic"/>
              </a:rPr>
              <a:t>KKW </a:t>
            </a:r>
            <a:r>
              <a:rPr lang="en-GB" sz="1333" b="1" dirty="0" err="1">
                <a:solidFill>
                  <a:srgbClr val="000000"/>
                </a:solidFill>
                <a:latin typeface="Arial"/>
                <a:ea typeface="MS PGothic"/>
              </a:rPr>
              <a:t>Spiegelwald</a:t>
            </a:r>
            <a:br>
              <a:rPr lang="en-GB" sz="1333" dirty="0">
                <a:solidFill>
                  <a:srgbClr val="000000"/>
                </a:solidFill>
                <a:latin typeface="Arial"/>
                <a:ea typeface="MS PGothic"/>
              </a:rPr>
            </a:br>
            <a:r>
              <a:rPr lang="en-GB" sz="1067" dirty="0">
                <a:solidFill>
                  <a:srgbClr val="000000"/>
                </a:solidFill>
                <a:latin typeface="Arial"/>
                <a:ea typeface="MS PGothic"/>
              </a:rPr>
              <a:t>9,5 GWh, 3,2 MW</a:t>
            </a:r>
          </a:p>
          <a:p>
            <a:pPr defTabSz="1219170"/>
            <a:r>
              <a:rPr lang="en-GB" sz="1067" dirty="0">
                <a:solidFill>
                  <a:srgbClr val="000000"/>
                </a:solidFill>
                <a:latin typeface="Arial"/>
                <a:ea typeface="MS PGothic"/>
              </a:rPr>
              <a:t>extension</a:t>
            </a:r>
          </a:p>
        </p:txBody>
      </p:sp>
      <p:cxnSp>
        <p:nvCxnSpPr>
          <p:cNvPr id="18" name="Gerade Verbindung 167">
            <a:extLst>
              <a:ext uri="{FF2B5EF4-FFF2-40B4-BE49-F238E27FC236}">
                <a16:creationId xmlns:a16="http://schemas.microsoft.com/office/drawing/2014/main" id="{00AFA34F-DF76-568F-298E-7C27445D0ED9}"/>
              </a:ext>
            </a:extLst>
          </p:cNvPr>
          <p:cNvCxnSpPr/>
          <p:nvPr/>
        </p:nvCxnSpPr>
        <p:spPr bwMode="auto">
          <a:xfrm>
            <a:off x="7437496" y="4378639"/>
            <a:ext cx="2050232"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Gerade Verbindung 164">
            <a:extLst>
              <a:ext uri="{FF2B5EF4-FFF2-40B4-BE49-F238E27FC236}">
                <a16:creationId xmlns:a16="http://schemas.microsoft.com/office/drawing/2014/main" id="{BE63E06C-360A-07F9-DE3C-46C3C3AD965A}"/>
              </a:ext>
            </a:extLst>
          </p:cNvPr>
          <p:cNvCxnSpPr>
            <a:endCxn id="62" idx="2"/>
          </p:cNvCxnSpPr>
          <p:nvPr/>
        </p:nvCxnSpPr>
        <p:spPr bwMode="auto">
          <a:xfrm>
            <a:off x="5319295" y="1881721"/>
            <a:ext cx="690" cy="1405647"/>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Gerade Verbindung 167">
            <a:extLst>
              <a:ext uri="{FF2B5EF4-FFF2-40B4-BE49-F238E27FC236}">
                <a16:creationId xmlns:a16="http://schemas.microsoft.com/office/drawing/2014/main" id="{CA48E9BA-FEF1-42E3-8B94-BF6E9D5FCDBF}"/>
              </a:ext>
            </a:extLst>
          </p:cNvPr>
          <p:cNvCxnSpPr/>
          <p:nvPr/>
        </p:nvCxnSpPr>
        <p:spPr bwMode="auto">
          <a:xfrm>
            <a:off x="2814376" y="5196080"/>
            <a:ext cx="2685499"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Gerade Verbindung 164">
            <a:extLst>
              <a:ext uri="{FF2B5EF4-FFF2-40B4-BE49-F238E27FC236}">
                <a16:creationId xmlns:a16="http://schemas.microsoft.com/office/drawing/2014/main" id="{747142D5-FD14-92C2-290F-0B1DED102BC2}"/>
              </a:ext>
            </a:extLst>
          </p:cNvPr>
          <p:cNvCxnSpPr/>
          <p:nvPr/>
        </p:nvCxnSpPr>
        <p:spPr bwMode="auto">
          <a:xfrm>
            <a:off x="7410272" y="5016375"/>
            <a:ext cx="0" cy="174625"/>
          </a:xfrm>
          <a:prstGeom prst="line">
            <a:avLst/>
          </a:prstGeom>
          <a:solidFill>
            <a:srgbClr val="4AADBB"/>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Flussdiagramm: Verbinder 29">
            <a:extLst>
              <a:ext uri="{FF2B5EF4-FFF2-40B4-BE49-F238E27FC236}">
                <a16:creationId xmlns:a16="http://schemas.microsoft.com/office/drawing/2014/main" id="{2A37A1FF-AB23-B6FB-F70B-00F94D0A1283}"/>
              </a:ext>
            </a:extLst>
          </p:cNvPr>
          <p:cNvSpPr>
            <a:spLocks noChangeAspect="1"/>
          </p:cNvSpPr>
          <p:nvPr/>
        </p:nvSpPr>
        <p:spPr bwMode="auto">
          <a:xfrm flipH="1" flipV="1">
            <a:off x="4308808" y="2566300"/>
            <a:ext cx="76256" cy="76256"/>
          </a:xfrm>
          <a:prstGeom prst="flowChartConnector">
            <a:avLst/>
          </a:prstGeom>
          <a:solidFill>
            <a:schemeClr val="bg1"/>
          </a:solidFill>
          <a:ln w="12700" cap="flat" cmpd="sng" algn="ctr">
            <a:solidFill>
              <a:schemeClr val="bg2"/>
            </a:solid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algn="ctr" defTabSz="1219170" eaLnBrk="0" fontAlgn="base" hangingPunct="0">
              <a:spcBef>
                <a:spcPct val="0"/>
              </a:spcBef>
              <a:spcAft>
                <a:spcPct val="0"/>
              </a:spcAft>
              <a:defRPr/>
            </a:pPr>
            <a:endParaRPr lang="en-GB" sz="2000" dirty="0" err="1">
              <a:solidFill>
                <a:srgbClr val="000000"/>
              </a:solidFill>
              <a:latin typeface="Arial" charset="0"/>
              <a:ea typeface="MS PGothic" pitchFamily="34" charset="-128"/>
            </a:endParaRPr>
          </a:p>
        </p:txBody>
      </p:sp>
      <p:sp>
        <p:nvSpPr>
          <p:cNvPr id="40" name="Textfeld 39">
            <a:extLst>
              <a:ext uri="{FF2B5EF4-FFF2-40B4-BE49-F238E27FC236}">
                <a16:creationId xmlns:a16="http://schemas.microsoft.com/office/drawing/2014/main" id="{A3BEF8A4-B140-298F-1950-292A7C8DEDEC}"/>
              </a:ext>
            </a:extLst>
          </p:cNvPr>
          <p:cNvSpPr txBox="1"/>
          <p:nvPr/>
        </p:nvSpPr>
        <p:spPr>
          <a:xfrm>
            <a:off x="6729674" y="6115417"/>
            <a:ext cx="5190053" cy="307777"/>
          </a:xfrm>
          <a:prstGeom prst="rect">
            <a:avLst/>
          </a:prstGeom>
          <a:noFill/>
        </p:spPr>
        <p:txBody>
          <a:bodyPr wrap="square" lIns="0" tIns="0" rIns="0" bIns="0" rtlCol="0">
            <a:spAutoFit/>
          </a:bodyPr>
          <a:lstStyle/>
          <a:p>
            <a:pPr algn="l"/>
            <a:r>
              <a:rPr lang="en-GB" sz="1000" dirty="0">
                <a:solidFill>
                  <a:srgbClr val="000000"/>
                </a:solidFill>
              </a:rPr>
              <a:t>Note: Projects completed in 2022: </a:t>
            </a:r>
            <a:r>
              <a:rPr lang="en-GB" sz="1000" dirty="0" err="1">
                <a:solidFill>
                  <a:srgbClr val="000000"/>
                </a:solidFill>
              </a:rPr>
              <a:t>Töging</a:t>
            </a:r>
            <a:r>
              <a:rPr lang="en-GB" sz="1000" dirty="0">
                <a:solidFill>
                  <a:srgbClr val="000000"/>
                </a:solidFill>
              </a:rPr>
              <a:t>, </a:t>
            </a:r>
            <a:r>
              <a:rPr lang="en-GB" sz="1000" dirty="0" err="1">
                <a:solidFill>
                  <a:srgbClr val="000000"/>
                </a:solidFill>
              </a:rPr>
              <a:t>Ybbs-Persenbeug</a:t>
            </a:r>
            <a:r>
              <a:rPr lang="en-GB" sz="1000" dirty="0">
                <a:solidFill>
                  <a:srgbClr val="000000"/>
                </a:solidFill>
              </a:rPr>
              <a:t>, </a:t>
            </a:r>
            <a:r>
              <a:rPr lang="en-GB" sz="1000" dirty="0" err="1">
                <a:solidFill>
                  <a:srgbClr val="000000"/>
                </a:solidFill>
              </a:rPr>
              <a:t>Arnstein</a:t>
            </a:r>
            <a:r>
              <a:rPr lang="en-GB" sz="1000" dirty="0">
                <a:solidFill>
                  <a:srgbClr val="000000"/>
                </a:solidFill>
              </a:rPr>
              <a:t>, </a:t>
            </a:r>
            <a:br>
              <a:rPr lang="en-GB" sz="1000" dirty="0">
                <a:solidFill>
                  <a:srgbClr val="000000"/>
                </a:solidFill>
              </a:rPr>
            </a:br>
            <a:r>
              <a:rPr lang="en-GB" sz="1000" dirty="0">
                <a:solidFill>
                  <a:srgbClr val="000000"/>
                </a:solidFill>
              </a:rPr>
              <a:t>          Kaprun </a:t>
            </a:r>
            <a:r>
              <a:rPr lang="en-GB" sz="1000" dirty="0" err="1">
                <a:solidFill>
                  <a:srgbClr val="000000"/>
                </a:solidFill>
              </a:rPr>
              <a:t>Oberstufe</a:t>
            </a:r>
            <a:r>
              <a:rPr lang="en-GB" sz="1000" dirty="0">
                <a:solidFill>
                  <a:srgbClr val="000000"/>
                </a:solidFill>
              </a:rPr>
              <a:t>, Malta </a:t>
            </a:r>
            <a:r>
              <a:rPr lang="en-GB" sz="1000" dirty="0" err="1">
                <a:solidFill>
                  <a:srgbClr val="000000"/>
                </a:solidFill>
              </a:rPr>
              <a:t>Hauptstufe</a:t>
            </a:r>
            <a:r>
              <a:rPr lang="en-GB" sz="1000" dirty="0">
                <a:solidFill>
                  <a:srgbClr val="000000"/>
                </a:solidFill>
              </a:rPr>
              <a:t> (</a:t>
            </a:r>
            <a:r>
              <a:rPr lang="en-GB" sz="1000" dirty="0" err="1">
                <a:solidFill>
                  <a:srgbClr val="000000"/>
                </a:solidFill>
              </a:rPr>
              <a:t>Pumpen</a:t>
            </a:r>
            <a:r>
              <a:rPr lang="en-GB" sz="1000" dirty="0">
                <a:solidFill>
                  <a:srgbClr val="000000"/>
                </a:solidFill>
              </a:rPr>
              <a:t>), Gerlos 1 and KKW </a:t>
            </a:r>
            <a:r>
              <a:rPr lang="en-GB" sz="1000" dirty="0" err="1">
                <a:solidFill>
                  <a:srgbClr val="000000"/>
                </a:solidFill>
              </a:rPr>
              <a:t>Häusling</a:t>
            </a:r>
            <a:endParaRPr lang="en-GB" sz="1000" dirty="0">
              <a:solidFill>
                <a:srgbClr val="000000"/>
              </a:solidFill>
            </a:endParaRPr>
          </a:p>
        </p:txBody>
      </p:sp>
      <p:pic>
        <p:nvPicPr>
          <p:cNvPr id="41" name="Grafik 40">
            <a:extLst>
              <a:ext uri="{FF2B5EF4-FFF2-40B4-BE49-F238E27FC236}">
                <a16:creationId xmlns:a16="http://schemas.microsoft.com/office/drawing/2014/main" id="{93066F6F-C2A4-D39B-A514-37F9A9EA067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85185" y="1006588"/>
            <a:ext cx="2128572" cy="845261"/>
          </a:xfrm>
          <a:prstGeom prst="rect">
            <a:avLst/>
          </a:prstGeom>
        </p:spPr>
      </p:pic>
      <p:sp>
        <p:nvSpPr>
          <p:cNvPr id="42" name="Inhaltsplatzhalter 1">
            <a:extLst>
              <a:ext uri="{FF2B5EF4-FFF2-40B4-BE49-F238E27FC236}">
                <a16:creationId xmlns:a16="http://schemas.microsoft.com/office/drawing/2014/main" id="{175A6C74-F428-430E-97C4-43E4F411CBAA}"/>
              </a:ext>
            </a:extLst>
          </p:cNvPr>
          <p:cNvSpPr txBox="1">
            <a:spLocks/>
          </p:cNvSpPr>
          <p:nvPr/>
        </p:nvSpPr>
        <p:spPr bwMode="auto">
          <a:xfrm>
            <a:off x="553757" y="1850221"/>
            <a:ext cx="2160000" cy="768000"/>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defTabSz="1219170"/>
            <a:r>
              <a:rPr lang="en-GB" sz="1333" b="1" dirty="0" err="1">
                <a:solidFill>
                  <a:srgbClr val="000000"/>
                </a:solidFill>
                <a:latin typeface="Arial"/>
                <a:ea typeface="MS PGothic"/>
              </a:rPr>
              <a:t>Stegenwald</a:t>
            </a:r>
            <a:br>
              <a:rPr lang="en-GB" sz="1333" dirty="0">
                <a:solidFill>
                  <a:srgbClr val="000000"/>
                </a:solidFill>
                <a:latin typeface="Arial"/>
                <a:ea typeface="MS PGothic"/>
              </a:rPr>
            </a:br>
            <a:r>
              <a:rPr lang="en-GB" sz="1067" dirty="0">
                <a:solidFill>
                  <a:srgbClr val="000000"/>
                </a:solidFill>
                <a:latin typeface="Arial"/>
                <a:ea typeface="MS PGothic"/>
              </a:rPr>
              <a:t>72,8 GWh, 14,3 MW</a:t>
            </a:r>
          </a:p>
          <a:p>
            <a:pPr defTabSz="1219170"/>
            <a:r>
              <a:rPr lang="en-GB" sz="1067" dirty="0">
                <a:solidFill>
                  <a:srgbClr val="000000"/>
                </a:solidFill>
                <a:latin typeface="Arial"/>
                <a:ea typeface="MS PGothic"/>
              </a:rPr>
              <a:t>Greenfield (50 % VERBUND)</a:t>
            </a:r>
          </a:p>
        </p:txBody>
      </p:sp>
      <p:pic>
        <p:nvPicPr>
          <p:cNvPr id="43" name="Grafik 42">
            <a:extLst>
              <a:ext uri="{FF2B5EF4-FFF2-40B4-BE49-F238E27FC236}">
                <a16:creationId xmlns:a16="http://schemas.microsoft.com/office/drawing/2014/main" id="{BC14C17B-1724-8808-30AC-A7195639019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522831" y="4980222"/>
            <a:ext cx="2156827" cy="1112167"/>
          </a:xfrm>
          <a:prstGeom prst="rect">
            <a:avLst/>
          </a:prstGeom>
        </p:spPr>
      </p:pic>
      <p:pic>
        <p:nvPicPr>
          <p:cNvPr id="44" name="Grafik 43">
            <a:extLst>
              <a:ext uri="{FF2B5EF4-FFF2-40B4-BE49-F238E27FC236}">
                <a16:creationId xmlns:a16="http://schemas.microsoft.com/office/drawing/2014/main" id="{C8605987-14B9-B9FE-86D4-3D947F19E9D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511852" y="1028771"/>
            <a:ext cx="2158275" cy="2200685"/>
          </a:xfrm>
          <a:prstGeom prst="rect">
            <a:avLst/>
          </a:prstGeom>
        </p:spPr>
      </p:pic>
      <p:pic>
        <p:nvPicPr>
          <p:cNvPr id="45" name="Grafik 44" descr="Ein Bild, das Gebäude, Loch, schmutzig enthält.&#10;&#10;Automatisch generierte Beschreibung">
            <a:extLst>
              <a:ext uri="{FF2B5EF4-FFF2-40B4-BE49-F238E27FC236}">
                <a16:creationId xmlns:a16="http://schemas.microsoft.com/office/drawing/2014/main" id="{E34EE051-9EAA-8180-493D-5DC36E3192D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56359" y="4438657"/>
            <a:ext cx="2153265" cy="1210740"/>
          </a:xfrm>
          <a:prstGeom prst="rect">
            <a:avLst/>
          </a:prstGeom>
        </p:spPr>
      </p:pic>
      <p:sp>
        <p:nvSpPr>
          <p:cNvPr id="46" name="Inhaltsplatzhalter 1">
            <a:extLst>
              <a:ext uri="{FF2B5EF4-FFF2-40B4-BE49-F238E27FC236}">
                <a16:creationId xmlns:a16="http://schemas.microsoft.com/office/drawing/2014/main" id="{EFD9D644-10D0-3C90-A896-2FAB3A8B9AD8}"/>
              </a:ext>
            </a:extLst>
          </p:cNvPr>
          <p:cNvSpPr txBox="1">
            <a:spLocks/>
          </p:cNvSpPr>
          <p:nvPr/>
        </p:nvSpPr>
        <p:spPr bwMode="auto">
          <a:xfrm>
            <a:off x="2813735" y="5226874"/>
            <a:ext cx="2686140" cy="875133"/>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a:ea typeface="MS PGothic"/>
              </a:rPr>
              <a:t>4 Refurbishments PSP</a:t>
            </a:r>
            <a:br>
              <a:rPr kumimoji="0" lang="en-GB" sz="1467" b="0" i="0" u="none" strike="noStrike" kern="1200" cap="none" spc="0" normalizeH="0" baseline="0" noProof="0" dirty="0">
                <a:ln>
                  <a:noFill/>
                </a:ln>
                <a:solidFill>
                  <a:srgbClr val="000000"/>
                </a:solidFill>
                <a:effectLst/>
                <a:uLnTx/>
                <a:uFillTx/>
                <a:latin typeface="Arial"/>
                <a:ea typeface="MS PGothic"/>
              </a:rPr>
            </a:br>
            <a:r>
              <a:rPr kumimoji="0" lang="en-GB" sz="1067" b="0" i="0" u="none" strike="noStrike" kern="1200" cap="none" spc="0" normalizeH="0" baseline="0" noProof="0" dirty="0">
                <a:ln>
                  <a:noFill/>
                </a:ln>
                <a:solidFill>
                  <a:srgbClr val="000000"/>
                </a:solidFill>
                <a:effectLst/>
                <a:uLnTx/>
                <a:uFillTx/>
                <a:latin typeface="Arial"/>
                <a:ea typeface="MS PGothic"/>
              </a:rPr>
              <a:t>+32 GWh</a:t>
            </a:r>
            <a:r>
              <a:rPr lang="en-GB" sz="1067" dirty="0">
                <a:solidFill>
                  <a:srgbClr val="000000"/>
                </a:solidFill>
                <a:latin typeface="Arial"/>
                <a:ea typeface="MS PGothic"/>
              </a:rPr>
              <a:t>, +20 MW-T,</a:t>
            </a:r>
            <a:r>
              <a:rPr kumimoji="0" lang="en-GB" sz="1067" b="0" i="0" u="none" strike="noStrike" kern="1200" cap="none" spc="0" normalizeH="0" baseline="0" noProof="0" dirty="0">
                <a:ln>
                  <a:noFill/>
                </a:ln>
                <a:solidFill>
                  <a:srgbClr val="000000"/>
                </a:solidFill>
                <a:effectLst/>
                <a:uLnTx/>
                <a:uFillTx/>
                <a:latin typeface="Arial"/>
                <a:ea typeface="MS PGothic"/>
              </a:rPr>
              <a:t> +72 MW-P</a:t>
            </a:r>
            <a:br>
              <a:rPr kumimoji="0" lang="en-GB" sz="1067" b="0" i="0" u="none" strike="noStrike" kern="1200" cap="none" spc="0" normalizeH="0" baseline="0" noProof="0" dirty="0">
                <a:ln>
                  <a:noFill/>
                </a:ln>
                <a:solidFill>
                  <a:srgbClr val="000000"/>
                </a:solidFill>
                <a:effectLst/>
                <a:uLnTx/>
                <a:uFillTx/>
                <a:latin typeface="Arial"/>
                <a:ea typeface="MS PGothic"/>
              </a:rPr>
            </a:br>
            <a:r>
              <a:rPr kumimoji="0" lang="en-GB" sz="1067" b="0" i="0" u="none" strike="noStrike" kern="1200" cap="none" spc="0" normalizeH="0" baseline="0" noProof="0" dirty="0" err="1">
                <a:ln>
                  <a:noFill/>
                </a:ln>
                <a:solidFill>
                  <a:srgbClr val="000000"/>
                </a:solidFill>
                <a:effectLst/>
                <a:uLnTx/>
                <a:uFillTx/>
                <a:latin typeface="Arial"/>
                <a:ea typeface="MS PGothic"/>
              </a:rPr>
              <a:t>Limberg</a:t>
            </a:r>
            <a:r>
              <a:rPr kumimoji="0" lang="en-GB" sz="1067" b="0" i="0" u="none" strike="noStrike" kern="1200" cap="none" spc="0" normalizeH="0" baseline="0" noProof="0" dirty="0">
                <a:ln>
                  <a:noFill/>
                </a:ln>
                <a:solidFill>
                  <a:srgbClr val="000000"/>
                </a:solidFill>
                <a:effectLst/>
                <a:uLnTx/>
                <a:uFillTx/>
                <a:latin typeface="Arial"/>
                <a:ea typeface="MS PGothic"/>
              </a:rPr>
              <a:t> II, </a:t>
            </a:r>
            <a:r>
              <a:rPr kumimoji="0" lang="en-GB" sz="1067" b="0" i="0" u="none" strike="noStrike" kern="1200" cap="none" spc="0" normalizeH="0" baseline="0" noProof="0" dirty="0" err="1">
                <a:ln>
                  <a:noFill/>
                </a:ln>
                <a:solidFill>
                  <a:srgbClr val="000000"/>
                </a:solidFill>
                <a:effectLst/>
                <a:uLnTx/>
                <a:uFillTx/>
                <a:latin typeface="Arial"/>
                <a:ea typeface="MS PGothic"/>
              </a:rPr>
              <a:t>Roßhag</a:t>
            </a:r>
            <a:r>
              <a:rPr kumimoji="0" lang="en-GB" sz="1067" b="0" i="0" u="none" strike="noStrike" kern="1200" cap="none" spc="0" normalizeH="0" baseline="0" noProof="0" dirty="0">
                <a:ln>
                  <a:noFill/>
                </a:ln>
                <a:solidFill>
                  <a:srgbClr val="000000"/>
                </a:solidFill>
                <a:effectLst/>
                <a:uLnTx/>
                <a:uFillTx/>
                <a:latin typeface="Arial"/>
                <a:ea typeface="MS PGothic"/>
              </a:rPr>
              <a:t>, </a:t>
            </a:r>
            <a:r>
              <a:rPr kumimoji="0" lang="en-GB" sz="1067" b="0" i="0" u="none" strike="noStrike" kern="1200" cap="none" spc="0" normalizeH="0" baseline="0" noProof="0" dirty="0" err="1">
                <a:ln>
                  <a:noFill/>
                </a:ln>
                <a:solidFill>
                  <a:srgbClr val="000000"/>
                </a:solidFill>
                <a:effectLst/>
                <a:uLnTx/>
                <a:uFillTx/>
                <a:latin typeface="Arial"/>
                <a:ea typeface="MS PGothic"/>
              </a:rPr>
              <a:t>Pumpwerk</a:t>
            </a:r>
            <a:r>
              <a:rPr kumimoji="0" lang="en-GB" sz="1067" b="0" i="0" u="none" strike="noStrike" kern="1200" cap="none" spc="0" normalizeH="0" baseline="0" noProof="0" dirty="0">
                <a:ln>
                  <a:noFill/>
                </a:ln>
                <a:solidFill>
                  <a:srgbClr val="000000"/>
                </a:solidFill>
                <a:effectLst/>
                <a:uLnTx/>
                <a:uFillTx/>
                <a:latin typeface="Arial"/>
                <a:ea typeface="MS PGothic"/>
              </a:rPr>
              <a:t> </a:t>
            </a:r>
            <a:r>
              <a:rPr kumimoji="0" lang="en-GB" sz="1067" b="0" i="0" u="none" strike="noStrike" kern="1200" cap="none" spc="0" normalizeH="0" baseline="0" noProof="0" dirty="0" err="1">
                <a:ln>
                  <a:noFill/>
                </a:ln>
                <a:solidFill>
                  <a:srgbClr val="000000"/>
                </a:solidFill>
                <a:effectLst/>
                <a:uLnTx/>
                <a:uFillTx/>
                <a:latin typeface="Arial"/>
                <a:ea typeface="MS PGothic"/>
              </a:rPr>
              <a:t>Reißeck</a:t>
            </a:r>
            <a:r>
              <a:rPr kumimoji="0" lang="en-GB" sz="1067" b="0" i="0" u="none" strike="noStrike" kern="1200" cap="none" spc="0" normalizeH="0" baseline="0" noProof="0" dirty="0">
                <a:ln>
                  <a:noFill/>
                </a:ln>
                <a:solidFill>
                  <a:srgbClr val="000000"/>
                </a:solidFill>
                <a:effectLst/>
                <a:uLnTx/>
                <a:uFillTx/>
                <a:latin typeface="Arial"/>
                <a:ea typeface="MS PGothic"/>
              </a:rPr>
              <a:t>,</a:t>
            </a:r>
            <a:br>
              <a:rPr kumimoji="0" lang="en-GB" sz="1067" b="0" i="0" u="none" strike="noStrike" kern="1200" cap="none" spc="0" normalizeH="0" baseline="0" noProof="0" dirty="0">
                <a:ln>
                  <a:noFill/>
                </a:ln>
                <a:solidFill>
                  <a:srgbClr val="000000"/>
                </a:solidFill>
                <a:effectLst/>
                <a:uLnTx/>
                <a:uFillTx/>
                <a:latin typeface="Arial"/>
                <a:ea typeface="MS PGothic"/>
              </a:rPr>
            </a:br>
            <a:r>
              <a:rPr kumimoji="0" lang="en-GB" sz="1067" b="0" i="0" u="none" strike="noStrike" kern="1200" cap="none" spc="0" normalizeH="0" baseline="0" noProof="0" dirty="0">
                <a:ln>
                  <a:noFill/>
                </a:ln>
                <a:solidFill>
                  <a:srgbClr val="000000"/>
                </a:solidFill>
                <a:effectLst/>
                <a:uLnTx/>
                <a:uFillTx/>
                <a:latin typeface="Arial"/>
                <a:ea typeface="MS PGothic"/>
              </a:rPr>
              <a:t>Malta </a:t>
            </a:r>
            <a:r>
              <a:rPr kumimoji="0" lang="en-GB" sz="1067" b="0" i="0" u="none" strike="noStrike" kern="1200" cap="none" spc="0" normalizeH="0" baseline="0" noProof="0" dirty="0" err="1">
                <a:ln>
                  <a:noFill/>
                </a:ln>
                <a:solidFill>
                  <a:srgbClr val="000000"/>
                </a:solidFill>
                <a:effectLst/>
                <a:uLnTx/>
                <a:uFillTx/>
                <a:latin typeface="Arial"/>
                <a:ea typeface="MS PGothic"/>
              </a:rPr>
              <a:t>Hauptstufe</a:t>
            </a:r>
            <a:r>
              <a:rPr kumimoji="0" lang="en-GB" sz="1067" b="0" i="0" u="none" strike="noStrike" kern="1200" cap="none" spc="0" normalizeH="0" baseline="0" noProof="0" dirty="0">
                <a:ln>
                  <a:noFill/>
                </a:ln>
                <a:solidFill>
                  <a:srgbClr val="000000"/>
                </a:solidFill>
                <a:effectLst/>
                <a:uLnTx/>
                <a:uFillTx/>
                <a:latin typeface="Arial"/>
                <a:ea typeface="MS PGothic"/>
              </a:rPr>
              <a:t> (Pelton - </a:t>
            </a:r>
            <a:r>
              <a:rPr kumimoji="0" lang="en-GB" sz="1067" b="0" i="0" u="none" strike="noStrike" kern="1200" cap="none" spc="0" normalizeH="0" baseline="0" noProof="0" dirty="0" err="1">
                <a:ln>
                  <a:noFill/>
                </a:ln>
                <a:solidFill>
                  <a:srgbClr val="000000"/>
                </a:solidFill>
                <a:effectLst/>
                <a:uLnTx/>
                <a:uFillTx/>
                <a:latin typeface="Arial"/>
                <a:ea typeface="MS PGothic"/>
              </a:rPr>
              <a:t>Turbinen</a:t>
            </a:r>
            <a:r>
              <a:rPr kumimoji="0" lang="en-GB" sz="1067" b="0" i="0" u="none" strike="noStrike" kern="1200" cap="none" spc="0" normalizeH="0" baseline="0" noProof="0" dirty="0">
                <a:ln>
                  <a:noFill/>
                </a:ln>
                <a:solidFill>
                  <a:srgbClr val="000000"/>
                </a:solidFill>
                <a:effectLst/>
                <a:uLnTx/>
                <a:uFillTx/>
                <a:latin typeface="Arial"/>
                <a:ea typeface="MS PGothic"/>
              </a:rPr>
              <a:t>)</a:t>
            </a:r>
          </a:p>
        </p:txBody>
      </p:sp>
      <p:pic>
        <p:nvPicPr>
          <p:cNvPr id="48" name="Grafik 47" descr="Ein Bild, das alt, schmutzig enthält.&#10;&#10;Automatisch generierte Beschreibung">
            <a:extLst>
              <a:ext uri="{FF2B5EF4-FFF2-40B4-BE49-F238E27FC236}">
                <a16:creationId xmlns:a16="http://schemas.microsoft.com/office/drawing/2014/main" id="{9DB91A59-B12F-3436-1D73-6BB28EAD5FDE}"/>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556359" y="2674504"/>
            <a:ext cx="2153265" cy="1251150"/>
          </a:xfrm>
          <a:prstGeom prst="rect">
            <a:avLst/>
          </a:prstGeom>
        </p:spPr>
      </p:pic>
      <p:sp>
        <p:nvSpPr>
          <p:cNvPr id="49" name="Inhaltsplatzhalter 1">
            <a:extLst>
              <a:ext uri="{FF2B5EF4-FFF2-40B4-BE49-F238E27FC236}">
                <a16:creationId xmlns:a16="http://schemas.microsoft.com/office/drawing/2014/main" id="{0FA31719-DDC5-7780-2C9B-51D98C6E18CB}"/>
              </a:ext>
            </a:extLst>
          </p:cNvPr>
          <p:cNvSpPr txBox="1">
            <a:spLocks/>
          </p:cNvSpPr>
          <p:nvPr/>
        </p:nvSpPr>
        <p:spPr bwMode="auto">
          <a:xfrm>
            <a:off x="553482" y="3899736"/>
            <a:ext cx="2160000" cy="477504"/>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defTabSz="1219170"/>
            <a:r>
              <a:rPr lang="en-GB" sz="1333" b="1" dirty="0">
                <a:solidFill>
                  <a:srgbClr val="000000"/>
                </a:solidFill>
                <a:latin typeface="Arial"/>
                <a:ea typeface="MS PGothic"/>
              </a:rPr>
              <a:t>RII+</a:t>
            </a:r>
            <a:br>
              <a:rPr lang="en-GB" sz="1067" dirty="0">
                <a:solidFill>
                  <a:srgbClr val="000000"/>
                </a:solidFill>
                <a:latin typeface="Arial"/>
                <a:ea typeface="MS PGothic"/>
              </a:rPr>
            </a:br>
            <a:r>
              <a:rPr lang="en-GB" sz="1067" dirty="0">
                <a:solidFill>
                  <a:srgbClr val="000000"/>
                </a:solidFill>
                <a:latin typeface="Arial"/>
                <a:ea typeface="MS PGothic"/>
              </a:rPr>
              <a:t>45 MW; extension</a:t>
            </a:r>
          </a:p>
        </p:txBody>
      </p:sp>
      <p:cxnSp>
        <p:nvCxnSpPr>
          <p:cNvPr id="52" name="Gerade Verbindung 167">
            <a:extLst>
              <a:ext uri="{FF2B5EF4-FFF2-40B4-BE49-F238E27FC236}">
                <a16:creationId xmlns:a16="http://schemas.microsoft.com/office/drawing/2014/main" id="{F45A607A-C788-BED5-E3DC-8CB25B2B6476}"/>
              </a:ext>
            </a:extLst>
          </p:cNvPr>
          <p:cNvCxnSpPr/>
          <p:nvPr/>
        </p:nvCxnSpPr>
        <p:spPr bwMode="auto">
          <a:xfrm>
            <a:off x="5319116" y="3008234"/>
            <a:ext cx="543518"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1" name="Gruppieren 60">
            <a:extLst>
              <a:ext uri="{FF2B5EF4-FFF2-40B4-BE49-F238E27FC236}">
                <a16:creationId xmlns:a16="http://schemas.microsoft.com/office/drawing/2014/main" id="{C21012EB-7D62-CAD6-55D0-EFC56672A305}"/>
              </a:ext>
            </a:extLst>
          </p:cNvPr>
          <p:cNvGrpSpPr/>
          <p:nvPr/>
        </p:nvGrpSpPr>
        <p:grpSpPr>
          <a:xfrm>
            <a:off x="5241091" y="3283339"/>
            <a:ext cx="158309" cy="206647"/>
            <a:chOff x="9539689" y="3142796"/>
            <a:chExt cx="158309" cy="206647"/>
          </a:xfrm>
        </p:grpSpPr>
        <p:sp>
          <p:nvSpPr>
            <p:cNvPr id="62" name="Freihandform 176">
              <a:extLst>
                <a:ext uri="{FF2B5EF4-FFF2-40B4-BE49-F238E27FC236}">
                  <a16:creationId xmlns:a16="http://schemas.microsoft.com/office/drawing/2014/main" id="{0A12A712-D7AA-F131-DB42-7E2C99ACCC64}"/>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63" name="Freihandform: Form 78">
              <a:extLst>
                <a:ext uri="{FF2B5EF4-FFF2-40B4-BE49-F238E27FC236}">
                  <a16:creationId xmlns:a16="http://schemas.microsoft.com/office/drawing/2014/main" id="{F70CBB13-0665-C5BA-2ED9-E69A107BDFC6}"/>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64" name="Ellipse 63">
              <a:extLst>
                <a:ext uri="{FF2B5EF4-FFF2-40B4-BE49-F238E27FC236}">
                  <a16:creationId xmlns:a16="http://schemas.microsoft.com/office/drawing/2014/main" id="{417100A5-C818-B302-D1CC-B4DB82674887}"/>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grpSp>
        <p:nvGrpSpPr>
          <p:cNvPr id="65" name="Gruppieren 64">
            <a:extLst>
              <a:ext uri="{FF2B5EF4-FFF2-40B4-BE49-F238E27FC236}">
                <a16:creationId xmlns:a16="http://schemas.microsoft.com/office/drawing/2014/main" id="{CF1BF80C-1F9D-6215-5148-C9B6AAAAA65E}"/>
              </a:ext>
            </a:extLst>
          </p:cNvPr>
          <p:cNvGrpSpPr/>
          <p:nvPr/>
        </p:nvGrpSpPr>
        <p:grpSpPr>
          <a:xfrm>
            <a:off x="5857214" y="3542240"/>
            <a:ext cx="158309" cy="206647"/>
            <a:chOff x="9539689" y="3142796"/>
            <a:chExt cx="158309" cy="206647"/>
          </a:xfrm>
        </p:grpSpPr>
        <p:sp>
          <p:nvSpPr>
            <p:cNvPr id="66" name="Freihandform 176">
              <a:extLst>
                <a:ext uri="{FF2B5EF4-FFF2-40B4-BE49-F238E27FC236}">
                  <a16:creationId xmlns:a16="http://schemas.microsoft.com/office/drawing/2014/main" id="{BD1C85A7-A8C5-893D-56A1-BC05306811A9}"/>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67" name="Freihandform: Form 78">
              <a:extLst>
                <a:ext uri="{FF2B5EF4-FFF2-40B4-BE49-F238E27FC236}">
                  <a16:creationId xmlns:a16="http://schemas.microsoft.com/office/drawing/2014/main" id="{3BA43D0F-78FE-7FCB-3870-0AA160497EFB}"/>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68" name="Ellipse 67">
              <a:extLst>
                <a:ext uri="{FF2B5EF4-FFF2-40B4-BE49-F238E27FC236}">
                  <a16:creationId xmlns:a16="http://schemas.microsoft.com/office/drawing/2014/main" id="{F1EA51F0-2DEA-409A-5BD7-8D1C8EB42458}"/>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cxnSp>
        <p:nvCxnSpPr>
          <p:cNvPr id="73" name="Gerade Verbindung 164">
            <a:extLst>
              <a:ext uri="{FF2B5EF4-FFF2-40B4-BE49-F238E27FC236}">
                <a16:creationId xmlns:a16="http://schemas.microsoft.com/office/drawing/2014/main" id="{45325EB8-9D35-8195-AA73-BB12D581F306}"/>
              </a:ext>
            </a:extLst>
          </p:cNvPr>
          <p:cNvCxnSpPr/>
          <p:nvPr/>
        </p:nvCxnSpPr>
        <p:spPr bwMode="auto">
          <a:xfrm>
            <a:off x="2734077" y="1006588"/>
            <a:ext cx="0" cy="1611633"/>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5" name="Gerade Verbindung 164">
            <a:extLst>
              <a:ext uri="{FF2B5EF4-FFF2-40B4-BE49-F238E27FC236}">
                <a16:creationId xmlns:a16="http://schemas.microsoft.com/office/drawing/2014/main" id="{06E298AA-AC8B-C902-FC1B-177B43561852}"/>
              </a:ext>
            </a:extLst>
          </p:cNvPr>
          <p:cNvCxnSpPr/>
          <p:nvPr/>
        </p:nvCxnSpPr>
        <p:spPr bwMode="auto">
          <a:xfrm>
            <a:off x="2735114" y="2677115"/>
            <a:ext cx="0" cy="1700125"/>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6" name="Gerade Verbindung 164">
            <a:extLst>
              <a:ext uri="{FF2B5EF4-FFF2-40B4-BE49-F238E27FC236}">
                <a16:creationId xmlns:a16="http://schemas.microsoft.com/office/drawing/2014/main" id="{C6E6727F-A734-27FB-E308-F22146C94F40}"/>
              </a:ext>
            </a:extLst>
          </p:cNvPr>
          <p:cNvCxnSpPr/>
          <p:nvPr/>
        </p:nvCxnSpPr>
        <p:spPr bwMode="auto">
          <a:xfrm>
            <a:off x="2741231" y="4438657"/>
            <a:ext cx="0" cy="1652921"/>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2" name="Gruppieren 81">
            <a:extLst>
              <a:ext uri="{FF2B5EF4-FFF2-40B4-BE49-F238E27FC236}">
                <a16:creationId xmlns:a16="http://schemas.microsoft.com/office/drawing/2014/main" id="{9E3F538C-65D3-B50D-E12E-D05011BE4446}"/>
              </a:ext>
            </a:extLst>
          </p:cNvPr>
          <p:cNvGrpSpPr/>
          <p:nvPr/>
        </p:nvGrpSpPr>
        <p:grpSpPr>
          <a:xfrm>
            <a:off x="4973294" y="3923070"/>
            <a:ext cx="158309" cy="206647"/>
            <a:chOff x="9539689" y="3142796"/>
            <a:chExt cx="158309" cy="206647"/>
          </a:xfrm>
        </p:grpSpPr>
        <p:sp>
          <p:nvSpPr>
            <p:cNvPr id="83" name="Freihandform 176">
              <a:extLst>
                <a:ext uri="{FF2B5EF4-FFF2-40B4-BE49-F238E27FC236}">
                  <a16:creationId xmlns:a16="http://schemas.microsoft.com/office/drawing/2014/main" id="{29AB349F-7FCC-8FEC-4A59-CB999760826F}"/>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84" name="Freihandform: Form 78">
              <a:extLst>
                <a:ext uri="{FF2B5EF4-FFF2-40B4-BE49-F238E27FC236}">
                  <a16:creationId xmlns:a16="http://schemas.microsoft.com/office/drawing/2014/main" id="{461E9032-7A99-5F8E-5789-42114B9C8707}"/>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85" name="Ellipse 84">
              <a:extLst>
                <a:ext uri="{FF2B5EF4-FFF2-40B4-BE49-F238E27FC236}">
                  <a16:creationId xmlns:a16="http://schemas.microsoft.com/office/drawing/2014/main" id="{35551251-8345-3F5C-6A58-7A5AC34587B3}"/>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grpSp>
        <p:nvGrpSpPr>
          <p:cNvPr id="86" name="Gruppieren 85">
            <a:extLst>
              <a:ext uri="{FF2B5EF4-FFF2-40B4-BE49-F238E27FC236}">
                <a16:creationId xmlns:a16="http://schemas.microsoft.com/office/drawing/2014/main" id="{C89B42B6-703C-228E-D648-3BEA7BF64765}"/>
              </a:ext>
            </a:extLst>
          </p:cNvPr>
          <p:cNvGrpSpPr/>
          <p:nvPr/>
        </p:nvGrpSpPr>
        <p:grpSpPr>
          <a:xfrm>
            <a:off x="5554690" y="3855170"/>
            <a:ext cx="158309" cy="206647"/>
            <a:chOff x="9539689" y="3142796"/>
            <a:chExt cx="158309" cy="206647"/>
          </a:xfrm>
        </p:grpSpPr>
        <p:sp>
          <p:nvSpPr>
            <p:cNvPr id="87" name="Freihandform 176">
              <a:extLst>
                <a:ext uri="{FF2B5EF4-FFF2-40B4-BE49-F238E27FC236}">
                  <a16:creationId xmlns:a16="http://schemas.microsoft.com/office/drawing/2014/main" id="{774698BA-EC17-11B0-73A0-38068ECE7057}"/>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88" name="Freihandform: Form 78">
              <a:extLst>
                <a:ext uri="{FF2B5EF4-FFF2-40B4-BE49-F238E27FC236}">
                  <a16:creationId xmlns:a16="http://schemas.microsoft.com/office/drawing/2014/main" id="{A04E3D07-4CA5-5E89-D8C6-E29EE0AA0837}"/>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89" name="Ellipse 88">
              <a:extLst>
                <a:ext uri="{FF2B5EF4-FFF2-40B4-BE49-F238E27FC236}">
                  <a16:creationId xmlns:a16="http://schemas.microsoft.com/office/drawing/2014/main" id="{84FC7E7B-F1A4-84E7-DAD0-9583E0F81FD1}"/>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cxnSp>
        <p:nvCxnSpPr>
          <p:cNvPr id="90" name="Gewinkelter Verbinder 20">
            <a:extLst>
              <a:ext uri="{FF2B5EF4-FFF2-40B4-BE49-F238E27FC236}">
                <a16:creationId xmlns:a16="http://schemas.microsoft.com/office/drawing/2014/main" id="{D985EF64-010B-1AB5-88ED-FDFB4824FB70}"/>
              </a:ext>
            </a:extLst>
          </p:cNvPr>
          <p:cNvCxnSpPr>
            <a:cxnSpLocks/>
            <a:stCxn id="88" idx="4"/>
          </p:cNvCxnSpPr>
          <p:nvPr/>
        </p:nvCxnSpPr>
        <p:spPr bwMode="auto">
          <a:xfrm flipH="1">
            <a:off x="2731071" y="4061716"/>
            <a:ext cx="2899444" cy="765915"/>
          </a:xfrm>
          <a:prstGeom prst="bentConnector3">
            <a:avLst>
              <a:gd name="adj1" fmla="val 309"/>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5" name="Gruppieren 94">
            <a:extLst>
              <a:ext uri="{FF2B5EF4-FFF2-40B4-BE49-F238E27FC236}">
                <a16:creationId xmlns:a16="http://schemas.microsoft.com/office/drawing/2014/main" id="{F62C79F9-80A8-A71E-1640-371D1F3CAAD2}"/>
              </a:ext>
            </a:extLst>
          </p:cNvPr>
          <p:cNvGrpSpPr/>
          <p:nvPr/>
        </p:nvGrpSpPr>
        <p:grpSpPr>
          <a:xfrm>
            <a:off x="5895406" y="4114949"/>
            <a:ext cx="158309" cy="206647"/>
            <a:chOff x="9539689" y="3142796"/>
            <a:chExt cx="158309" cy="206647"/>
          </a:xfrm>
        </p:grpSpPr>
        <p:sp>
          <p:nvSpPr>
            <p:cNvPr id="96" name="Freihandform 176">
              <a:extLst>
                <a:ext uri="{FF2B5EF4-FFF2-40B4-BE49-F238E27FC236}">
                  <a16:creationId xmlns:a16="http://schemas.microsoft.com/office/drawing/2014/main" id="{B5C484B4-ED9B-825A-639A-20DC91AA798F}"/>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97" name="Freihandform: Form 78">
              <a:extLst>
                <a:ext uri="{FF2B5EF4-FFF2-40B4-BE49-F238E27FC236}">
                  <a16:creationId xmlns:a16="http://schemas.microsoft.com/office/drawing/2014/main" id="{E0BFD2AE-40A2-70B5-7E8A-44FB1BEE31C9}"/>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98" name="Ellipse 97">
              <a:extLst>
                <a:ext uri="{FF2B5EF4-FFF2-40B4-BE49-F238E27FC236}">
                  <a16:creationId xmlns:a16="http://schemas.microsoft.com/office/drawing/2014/main" id="{2BA2CA7B-1E14-0932-9F04-9DDF2485716F}"/>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cxnSp>
        <p:nvCxnSpPr>
          <p:cNvPr id="102" name="Gerade Verbindung 167">
            <a:extLst>
              <a:ext uri="{FF2B5EF4-FFF2-40B4-BE49-F238E27FC236}">
                <a16:creationId xmlns:a16="http://schemas.microsoft.com/office/drawing/2014/main" id="{B0CB72E6-C0E4-F82D-AA6E-E14AF3968A47}"/>
              </a:ext>
            </a:extLst>
          </p:cNvPr>
          <p:cNvCxnSpPr/>
          <p:nvPr/>
        </p:nvCxnSpPr>
        <p:spPr bwMode="auto">
          <a:xfrm>
            <a:off x="2741231" y="4314542"/>
            <a:ext cx="3231398"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4" name="Gerade Verbindung 164">
            <a:extLst>
              <a:ext uri="{FF2B5EF4-FFF2-40B4-BE49-F238E27FC236}">
                <a16:creationId xmlns:a16="http://schemas.microsoft.com/office/drawing/2014/main" id="{4C1E6AB0-AFAA-4EC0-36DD-D7B39955F297}"/>
              </a:ext>
            </a:extLst>
          </p:cNvPr>
          <p:cNvCxnSpPr/>
          <p:nvPr/>
        </p:nvCxnSpPr>
        <p:spPr bwMode="auto">
          <a:xfrm>
            <a:off x="5050718" y="4122663"/>
            <a:ext cx="0" cy="1068337"/>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1" name="Gewinkelter Verbinder 20">
            <a:extLst>
              <a:ext uri="{FF2B5EF4-FFF2-40B4-BE49-F238E27FC236}">
                <a16:creationId xmlns:a16="http://schemas.microsoft.com/office/drawing/2014/main" id="{D43FD0C0-8867-05F9-7F38-6EB31B660B24}"/>
              </a:ext>
            </a:extLst>
          </p:cNvPr>
          <p:cNvCxnSpPr>
            <a:cxnSpLocks/>
          </p:cNvCxnSpPr>
          <p:nvPr/>
        </p:nvCxnSpPr>
        <p:spPr bwMode="auto">
          <a:xfrm rot="5400000">
            <a:off x="5148106" y="4381659"/>
            <a:ext cx="886517" cy="766394"/>
          </a:xfrm>
          <a:prstGeom prst="bentConnector3">
            <a:avLst>
              <a:gd name="adj1" fmla="val 76359"/>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Gerade Verbindung 164">
            <a:extLst>
              <a:ext uri="{FF2B5EF4-FFF2-40B4-BE49-F238E27FC236}">
                <a16:creationId xmlns:a16="http://schemas.microsoft.com/office/drawing/2014/main" id="{BA50DDC7-2D3B-B283-03EE-BE4CBE532FDF}"/>
              </a:ext>
            </a:extLst>
          </p:cNvPr>
          <p:cNvCxnSpPr/>
          <p:nvPr/>
        </p:nvCxnSpPr>
        <p:spPr bwMode="auto">
          <a:xfrm>
            <a:off x="5619059" y="4836701"/>
            <a:ext cx="0" cy="154894"/>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Gerade Verbindung 167">
            <a:extLst>
              <a:ext uri="{FF2B5EF4-FFF2-40B4-BE49-F238E27FC236}">
                <a16:creationId xmlns:a16="http://schemas.microsoft.com/office/drawing/2014/main" id="{E82B3B8A-CAFA-0171-113C-F84314581916}"/>
              </a:ext>
            </a:extLst>
          </p:cNvPr>
          <p:cNvCxnSpPr/>
          <p:nvPr/>
        </p:nvCxnSpPr>
        <p:spPr bwMode="auto">
          <a:xfrm>
            <a:off x="6706131" y="5208115"/>
            <a:ext cx="2685499"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1" name="Gewinkelter Verbinder 20">
            <a:extLst>
              <a:ext uri="{FF2B5EF4-FFF2-40B4-BE49-F238E27FC236}">
                <a16:creationId xmlns:a16="http://schemas.microsoft.com/office/drawing/2014/main" id="{12239B69-1402-AF67-B3E1-5918764B386F}"/>
              </a:ext>
            </a:extLst>
          </p:cNvPr>
          <p:cNvCxnSpPr>
            <a:cxnSpLocks/>
            <a:stCxn id="84" idx="12"/>
          </p:cNvCxnSpPr>
          <p:nvPr/>
        </p:nvCxnSpPr>
        <p:spPr bwMode="auto">
          <a:xfrm>
            <a:off x="5052549" y="4114020"/>
            <a:ext cx="1946274" cy="1084034"/>
          </a:xfrm>
          <a:prstGeom prst="bentConnector3">
            <a:avLst>
              <a:gd name="adj1" fmla="val 97765"/>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33" name="Gruppieren 132">
            <a:extLst>
              <a:ext uri="{FF2B5EF4-FFF2-40B4-BE49-F238E27FC236}">
                <a16:creationId xmlns:a16="http://schemas.microsoft.com/office/drawing/2014/main" id="{4B379FFA-5C16-571C-565A-011612A159B3}"/>
              </a:ext>
            </a:extLst>
          </p:cNvPr>
          <p:cNvGrpSpPr/>
          <p:nvPr/>
        </p:nvGrpSpPr>
        <p:grpSpPr>
          <a:xfrm>
            <a:off x="6547822" y="2747652"/>
            <a:ext cx="158309" cy="206647"/>
            <a:chOff x="9539689" y="3142796"/>
            <a:chExt cx="158309" cy="206647"/>
          </a:xfrm>
        </p:grpSpPr>
        <p:sp>
          <p:nvSpPr>
            <p:cNvPr id="134" name="Freihandform 176">
              <a:extLst>
                <a:ext uri="{FF2B5EF4-FFF2-40B4-BE49-F238E27FC236}">
                  <a16:creationId xmlns:a16="http://schemas.microsoft.com/office/drawing/2014/main" id="{88737B26-3041-6507-2616-C4826883FD7E}"/>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135" name="Freihandform: Form 78">
              <a:extLst>
                <a:ext uri="{FF2B5EF4-FFF2-40B4-BE49-F238E27FC236}">
                  <a16:creationId xmlns:a16="http://schemas.microsoft.com/office/drawing/2014/main" id="{11CEF6FF-8FD3-F9DD-88DE-A5E820424CE5}"/>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136" name="Ellipse 135">
              <a:extLst>
                <a:ext uri="{FF2B5EF4-FFF2-40B4-BE49-F238E27FC236}">
                  <a16:creationId xmlns:a16="http://schemas.microsoft.com/office/drawing/2014/main" id="{B02198A4-703D-6E63-8FEB-3960113AF1AD}"/>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grpSp>
        <p:nvGrpSpPr>
          <p:cNvPr id="137" name="Gruppieren 136">
            <a:extLst>
              <a:ext uri="{FF2B5EF4-FFF2-40B4-BE49-F238E27FC236}">
                <a16:creationId xmlns:a16="http://schemas.microsoft.com/office/drawing/2014/main" id="{67BB2E76-E079-CD74-E482-C8E4DC1D436F}"/>
              </a:ext>
            </a:extLst>
          </p:cNvPr>
          <p:cNvGrpSpPr/>
          <p:nvPr/>
        </p:nvGrpSpPr>
        <p:grpSpPr>
          <a:xfrm>
            <a:off x="6185523" y="2573791"/>
            <a:ext cx="158309" cy="206647"/>
            <a:chOff x="9539689" y="3142796"/>
            <a:chExt cx="158309" cy="206647"/>
          </a:xfrm>
        </p:grpSpPr>
        <p:sp>
          <p:nvSpPr>
            <p:cNvPr id="138" name="Freihandform 176">
              <a:extLst>
                <a:ext uri="{FF2B5EF4-FFF2-40B4-BE49-F238E27FC236}">
                  <a16:creationId xmlns:a16="http://schemas.microsoft.com/office/drawing/2014/main" id="{DC5D0445-AEF4-6D43-B39C-1F8FD46E5F43}"/>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139" name="Freihandform: Form 78">
              <a:extLst>
                <a:ext uri="{FF2B5EF4-FFF2-40B4-BE49-F238E27FC236}">
                  <a16:creationId xmlns:a16="http://schemas.microsoft.com/office/drawing/2014/main" id="{B348B937-279D-3370-E5E9-C4FE260DB00A}"/>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140" name="Ellipse 139">
              <a:extLst>
                <a:ext uri="{FF2B5EF4-FFF2-40B4-BE49-F238E27FC236}">
                  <a16:creationId xmlns:a16="http://schemas.microsoft.com/office/drawing/2014/main" id="{425C8E04-7E0D-E95F-A089-0B746898B929}"/>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grpSp>
        <p:nvGrpSpPr>
          <p:cNvPr id="141" name="Gruppieren 140">
            <a:extLst>
              <a:ext uri="{FF2B5EF4-FFF2-40B4-BE49-F238E27FC236}">
                <a16:creationId xmlns:a16="http://schemas.microsoft.com/office/drawing/2014/main" id="{6FFB66A6-31C4-9241-0FFD-7E7D344D4DBC}"/>
              </a:ext>
            </a:extLst>
          </p:cNvPr>
          <p:cNvGrpSpPr/>
          <p:nvPr/>
        </p:nvGrpSpPr>
        <p:grpSpPr>
          <a:xfrm>
            <a:off x="7275196" y="3982188"/>
            <a:ext cx="158309" cy="206647"/>
            <a:chOff x="9539689" y="3142796"/>
            <a:chExt cx="158309" cy="206647"/>
          </a:xfrm>
        </p:grpSpPr>
        <p:sp>
          <p:nvSpPr>
            <p:cNvPr id="142" name="Freihandform 176">
              <a:extLst>
                <a:ext uri="{FF2B5EF4-FFF2-40B4-BE49-F238E27FC236}">
                  <a16:creationId xmlns:a16="http://schemas.microsoft.com/office/drawing/2014/main" id="{508BE7C9-2B90-AFC3-8C33-B33309C93155}"/>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143" name="Freihandform: Form 78">
              <a:extLst>
                <a:ext uri="{FF2B5EF4-FFF2-40B4-BE49-F238E27FC236}">
                  <a16:creationId xmlns:a16="http://schemas.microsoft.com/office/drawing/2014/main" id="{C6F85FA2-FB0E-B738-5952-009A8DDFB7AA}"/>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144" name="Ellipse 143">
              <a:extLst>
                <a:ext uri="{FF2B5EF4-FFF2-40B4-BE49-F238E27FC236}">
                  <a16:creationId xmlns:a16="http://schemas.microsoft.com/office/drawing/2014/main" id="{98D5D74E-1249-07B0-27D9-94296DC39F25}"/>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grpSp>
        <p:nvGrpSpPr>
          <p:cNvPr id="145" name="Gruppieren 144">
            <a:extLst>
              <a:ext uri="{FF2B5EF4-FFF2-40B4-BE49-F238E27FC236}">
                <a16:creationId xmlns:a16="http://schemas.microsoft.com/office/drawing/2014/main" id="{D3D13056-3DC5-3770-C071-33E4B3F281A0}"/>
              </a:ext>
            </a:extLst>
          </p:cNvPr>
          <p:cNvGrpSpPr/>
          <p:nvPr/>
        </p:nvGrpSpPr>
        <p:grpSpPr>
          <a:xfrm>
            <a:off x="7347029" y="4168142"/>
            <a:ext cx="158309" cy="206647"/>
            <a:chOff x="9539689" y="3142796"/>
            <a:chExt cx="158309" cy="206647"/>
          </a:xfrm>
        </p:grpSpPr>
        <p:sp>
          <p:nvSpPr>
            <p:cNvPr id="146" name="Freihandform 176">
              <a:extLst>
                <a:ext uri="{FF2B5EF4-FFF2-40B4-BE49-F238E27FC236}">
                  <a16:creationId xmlns:a16="http://schemas.microsoft.com/office/drawing/2014/main" id="{E521961B-F3D6-3C7B-77F3-17BB5D62E0F8}"/>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147" name="Freihandform: Form 78">
              <a:extLst>
                <a:ext uri="{FF2B5EF4-FFF2-40B4-BE49-F238E27FC236}">
                  <a16:creationId xmlns:a16="http://schemas.microsoft.com/office/drawing/2014/main" id="{345BF661-7530-EA1A-1725-0D80C9BC0750}"/>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148" name="Ellipse 147">
              <a:extLst>
                <a:ext uri="{FF2B5EF4-FFF2-40B4-BE49-F238E27FC236}">
                  <a16:creationId xmlns:a16="http://schemas.microsoft.com/office/drawing/2014/main" id="{E22BD848-90B7-8E74-991B-0A33D380D53F}"/>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cxnSp>
        <p:nvCxnSpPr>
          <p:cNvPr id="149" name="Gerade Verbindung 164">
            <a:extLst>
              <a:ext uri="{FF2B5EF4-FFF2-40B4-BE49-F238E27FC236}">
                <a16:creationId xmlns:a16="http://schemas.microsoft.com/office/drawing/2014/main" id="{713B0A18-4715-2F7C-A988-1EC935A6203F}"/>
              </a:ext>
            </a:extLst>
          </p:cNvPr>
          <p:cNvCxnSpPr/>
          <p:nvPr/>
        </p:nvCxnSpPr>
        <p:spPr bwMode="auto">
          <a:xfrm>
            <a:off x="9498927" y="4225675"/>
            <a:ext cx="0" cy="1876332"/>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0" name="Gerade Verbindung 164">
            <a:extLst>
              <a:ext uri="{FF2B5EF4-FFF2-40B4-BE49-F238E27FC236}">
                <a16:creationId xmlns:a16="http://schemas.microsoft.com/office/drawing/2014/main" id="{584562A9-AB97-9DC1-524A-481E7B9BF06F}"/>
              </a:ext>
            </a:extLst>
          </p:cNvPr>
          <p:cNvCxnSpPr/>
          <p:nvPr/>
        </p:nvCxnSpPr>
        <p:spPr bwMode="auto">
          <a:xfrm>
            <a:off x="9494444" y="3354635"/>
            <a:ext cx="0" cy="750204"/>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2" name="Gerade Verbindung 164">
            <a:extLst>
              <a:ext uri="{FF2B5EF4-FFF2-40B4-BE49-F238E27FC236}">
                <a16:creationId xmlns:a16="http://schemas.microsoft.com/office/drawing/2014/main" id="{9AFE29FC-1EA3-7E61-3524-13B8E1637BB6}"/>
              </a:ext>
            </a:extLst>
          </p:cNvPr>
          <p:cNvCxnSpPr/>
          <p:nvPr/>
        </p:nvCxnSpPr>
        <p:spPr bwMode="auto">
          <a:xfrm flipH="1">
            <a:off x="9463113" y="1881721"/>
            <a:ext cx="7260" cy="133731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4" name="Gerade Verbindung 167">
            <a:extLst>
              <a:ext uri="{FF2B5EF4-FFF2-40B4-BE49-F238E27FC236}">
                <a16:creationId xmlns:a16="http://schemas.microsoft.com/office/drawing/2014/main" id="{2465CE58-D51F-E0B6-3CE9-3944E9DDA9CA}"/>
              </a:ext>
            </a:extLst>
          </p:cNvPr>
          <p:cNvCxnSpPr/>
          <p:nvPr/>
        </p:nvCxnSpPr>
        <p:spPr bwMode="auto">
          <a:xfrm>
            <a:off x="6764850" y="1881039"/>
            <a:ext cx="2668251"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6" name="Inhaltsplatzhalter 1">
            <a:extLst>
              <a:ext uri="{FF2B5EF4-FFF2-40B4-BE49-F238E27FC236}">
                <a16:creationId xmlns:a16="http://schemas.microsoft.com/office/drawing/2014/main" id="{74A2AF9F-9237-1285-E018-7C2DE73ED49B}"/>
              </a:ext>
            </a:extLst>
          </p:cNvPr>
          <p:cNvSpPr txBox="1">
            <a:spLocks/>
          </p:cNvSpPr>
          <p:nvPr/>
        </p:nvSpPr>
        <p:spPr bwMode="auto">
          <a:xfrm>
            <a:off x="6782930" y="1008691"/>
            <a:ext cx="2674740" cy="851795"/>
          </a:xfrm>
          <a:prstGeom prst="rect">
            <a:avLst/>
          </a:prstGeom>
          <a:solidFill>
            <a:schemeClr val="accent3"/>
          </a:solidFill>
          <a:ln w="19050">
            <a:solidFill>
              <a:schemeClr val="bg1"/>
            </a:solidFill>
          </a:ln>
        </p:spPr>
        <p:txBody>
          <a:bodyPr vert="horz" wrap="none" lIns="120000" tIns="62400" rIns="120000" bIns="62400" numCol="1" anchor="t" anchorCtr="0" compatLnSpc="1">
            <a:prstTxWarp prst="textNoShape">
              <a:avLst/>
            </a:prstTxWarp>
            <a:no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srgbClr val="000000"/>
                </a:solidFill>
                <a:effectLst/>
                <a:uLnTx/>
                <a:uFillTx/>
                <a:latin typeface="Arial"/>
                <a:ea typeface="MS PGothic"/>
                <a:cs typeface="+mn-cs"/>
              </a:rPr>
              <a:t>3 Refurbishments Danube</a:t>
            </a:r>
            <a:br>
              <a:rPr kumimoji="0" lang="en-GB" sz="1333" b="0" i="0" u="none" strike="noStrike" kern="1200" cap="none" spc="0" normalizeH="0" baseline="0" noProof="0" dirty="0">
                <a:ln>
                  <a:noFill/>
                </a:ln>
                <a:solidFill>
                  <a:srgbClr val="000000"/>
                </a:solidFill>
                <a:effectLst/>
                <a:uLnTx/>
                <a:uFillTx/>
                <a:latin typeface="Arial"/>
                <a:ea typeface="MS PGothic"/>
                <a:cs typeface="+mn-cs"/>
              </a:rPr>
            </a:br>
            <a:r>
              <a:rPr kumimoji="0" lang="en-GB" sz="1067" b="0" i="0" u="none" strike="noStrike" kern="1200" cap="none" spc="0" normalizeH="0" baseline="0" noProof="0" dirty="0">
                <a:ln>
                  <a:noFill/>
                </a:ln>
                <a:solidFill>
                  <a:srgbClr val="000000"/>
                </a:solidFill>
                <a:effectLst/>
                <a:uLnTx/>
                <a:uFillTx/>
                <a:latin typeface="Arial"/>
                <a:ea typeface="MS PGothic"/>
                <a:cs typeface="+mn-cs"/>
              </a:rPr>
              <a:t>+123 GWh, +37 MW</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000000"/>
                </a:solidFill>
                <a:effectLst/>
                <a:uLnTx/>
                <a:uFillTx/>
                <a:latin typeface="Arial"/>
                <a:ea typeface="MS PGothic"/>
                <a:cs typeface="+mn-cs"/>
              </a:rPr>
              <a:t>Jochenstein, </a:t>
            </a:r>
            <a:r>
              <a:rPr kumimoji="0" lang="en-GB" sz="1067" b="0" i="0" u="none" strike="noStrike" kern="1200" cap="none" spc="0" normalizeH="0" baseline="0" noProof="0" dirty="0" err="1">
                <a:ln>
                  <a:noFill/>
                </a:ln>
                <a:solidFill>
                  <a:srgbClr val="000000"/>
                </a:solidFill>
                <a:effectLst/>
                <a:uLnTx/>
                <a:uFillTx/>
                <a:latin typeface="Arial"/>
                <a:ea typeface="MS PGothic"/>
                <a:cs typeface="+mn-cs"/>
              </a:rPr>
              <a:t>Ottensheim-Wilhering</a:t>
            </a:r>
            <a:r>
              <a:rPr kumimoji="0" lang="en-GB" sz="1067" b="0" i="0" u="none" strike="noStrike" kern="1200" cap="none" spc="0" normalizeH="0" baseline="0" noProof="0" dirty="0">
                <a:ln>
                  <a:noFill/>
                </a:ln>
                <a:solidFill>
                  <a:srgbClr val="000000"/>
                </a:solidFill>
                <a:effectLst/>
                <a:uLnTx/>
                <a:uFillTx/>
                <a:latin typeface="Arial"/>
                <a:ea typeface="MS PGothic"/>
                <a:cs typeface="+mn-cs"/>
              </a:rPr>
              <a:t>, </a:t>
            </a:r>
            <a:br>
              <a:rPr kumimoji="0" lang="en-GB" sz="1067" b="0" i="0" u="none" strike="noStrike" kern="1200" cap="none" spc="0" normalizeH="0" baseline="0" noProof="0" dirty="0">
                <a:ln>
                  <a:noFill/>
                </a:ln>
                <a:solidFill>
                  <a:srgbClr val="000000"/>
                </a:solidFill>
                <a:effectLst/>
                <a:uLnTx/>
                <a:uFillTx/>
                <a:latin typeface="Arial"/>
                <a:ea typeface="MS PGothic"/>
                <a:cs typeface="+mn-cs"/>
              </a:rPr>
            </a:br>
            <a:r>
              <a:rPr kumimoji="0" lang="en-GB" sz="1067" b="0" i="0" u="none" strike="noStrike" kern="1200" cap="none" spc="0" normalizeH="0" baseline="0" noProof="0" dirty="0" err="1">
                <a:ln>
                  <a:noFill/>
                </a:ln>
                <a:solidFill>
                  <a:srgbClr val="000000"/>
                </a:solidFill>
                <a:effectLst/>
                <a:uLnTx/>
                <a:uFillTx/>
                <a:latin typeface="Arial"/>
                <a:ea typeface="MS PGothic"/>
                <a:cs typeface="+mn-cs"/>
              </a:rPr>
              <a:t>Wallsee-Mitterkirchen</a:t>
            </a:r>
            <a:endParaRPr kumimoji="0" lang="en-GB" sz="1067" b="0" i="0" u="none" strike="noStrike" kern="1200" cap="none" spc="0" normalizeH="0" baseline="0" noProof="0" dirty="0">
              <a:ln>
                <a:noFill/>
              </a:ln>
              <a:solidFill>
                <a:srgbClr val="000000"/>
              </a:solidFill>
              <a:effectLst/>
              <a:uLnTx/>
              <a:uFillTx/>
              <a:latin typeface="Arial"/>
              <a:ea typeface="MS PGothic"/>
              <a:cs typeface="+mn-cs"/>
            </a:endParaRPr>
          </a:p>
        </p:txBody>
      </p:sp>
      <p:cxnSp>
        <p:nvCxnSpPr>
          <p:cNvPr id="160" name="Gewinkelter Verbinder 20">
            <a:extLst>
              <a:ext uri="{FF2B5EF4-FFF2-40B4-BE49-F238E27FC236}">
                <a16:creationId xmlns:a16="http://schemas.microsoft.com/office/drawing/2014/main" id="{C13F0FF5-F30C-F6DF-455C-9D2FC94C60C1}"/>
              </a:ext>
            </a:extLst>
          </p:cNvPr>
          <p:cNvCxnSpPr>
            <a:cxnSpLocks/>
            <a:stCxn id="143" idx="12"/>
          </p:cNvCxnSpPr>
          <p:nvPr/>
        </p:nvCxnSpPr>
        <p:spPr bwMode="auto">
          <a:xfrm flipV="1">
            <a:off x="7354451" y="3878481"/>
            <a:ext cx="2115922" cy="294657"/>
          </a:xfrm>
          <a:prstGeom prst="bentConnector3">
            <a:avLst>
              <a:gd name="adj1" fmla="val 78330"/>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7" name="Gewinkelter Verbinder 20">
            <a:extLst>
              <a:ext uri="{FF2B5EF4-FFF2-40B4-BE49-F238E27FC236}">
                <a16:creationId xmlns:a16="http://schemas.microsoft.com/office/drawing/2014/main" id="{582605DE-79A8-3296-8870-B14A09DC86C9}"/>
              </a:ext>
            </a:extLst>
          </p:cNvPr>
          <p:cNvCxnSpPr>
            <a:cxnSpLocks/>
            <a:stCxn id="131" idx="12"/>
          </p:cNvCxnSpPr>
          <p:nvPr/>
        </p:nvCxnSpPr>
        <p:spPr bwMode="auto">
          <a:xfrm flipV="1">
            <a:off x="6918806" y="1872198"/>
            <a:ext cx="290015" cy="1178345"/>
          </a:xfrm>
          <a:prstGeom prst="bentConnector2">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0" name="Gerade Verbindung 167">
            <a:extLst>
              <a:ext uri="{FF2B5EF4-FFF2-40B4-BE49-F238E27FC236}">
                <a16:creationId xmlns:a16="http://schemas.microsoft.com/office/drawing/2014/main" id="{120CAEBB-E6B2-187C-26E1-EAC5BF08912B}"/>
              </a:ext>
            </a:extLst>
          </p:cNvPr>
          <p:cNvCxnSpPr/>
          <p:nvPr/>
        </p:nvCxnSpPr>
        <p:spPr bwMode="auto">
          <a:xfrm>
            <a:off x="6263727" y="2773642"/>
            <a:ext cx="945094"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2" name="Gerade Verbindung 167">
            <a:extLst>
              <a:ext uri="{FF2B5EF4-FFF2-40B4-BE49-F238E27FC236}">
                <a16:creationId xmlns:a16="http://schemas.microsoft.com/office/drawing/2014/main" id="{8257D80E-6F6D-BAA8-A05C-599A84414B5F}"/>
              </a:ext>
            </a:extLst>
          </p:cNvPr>
          <p:cNvCxnSpPr/>
          <p:nvPr/>
        </p:nvCxnSpPr>
        <p:spPr bwMode="auto">
          <a:xfrm>
            <a:off x="6620676" y="2951737"/>
            <a:ext cx="588145"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4" name="Inhaltsplatzhalter 1">
            <a:extLst>
              <a:ext uri="{FF2B5EF4-FFF2-40B4-BE49-F238E27FC236}">
                <a16:creationId xmlns:a16="http://schemas.microsoft.com/office/drawing/2014/main" id="{756772CB-5A36-631A-3878-12CE0F7922A7}"/>
              </a:ext>
            </a:extLst>
          </p:cNvPr>
          <p:cNvSpPr txBox="1">
            <a:spLocks/>
          </p:cNvSpPr>
          <p:nvPr/>
        </p:nvSpPr>
        <p:spPr bwMode="auto">
          <a:xfrm>
            <a:off x="7690892" y="2139003"/>
            <a:ext cx="2320919" cy="1295954"/>
          </a:xfrm>
          <a:prstGeom prst="rect">
            <a:avLst/>
          </a:prstGeom>
          <a:solidFill>
            <a:schemeClr val="tx2"/>
          </a:solidFill>
          <a:ln w="19050">
            <a:solidFill>
              <a:schemeClr val="bg1"/>
            </a:solidFill>
          </a:ln>
        </p:spPr>
        <p:txBody>
          <a:bodyPr vert="horz" wrap="square" lIns="120000" tIns="62400" rIns="120000" bIns="62400" numCol="1" anchor="t" anchorCtr="0" compatLnSpc="1">
            <a:prstTxWarp prst="textNoShape">
              <a:avLst/>
            </a:prstTxWarp>
            <a:spAutoFit/>
          </a:bodyPr>
          <a:lstStyle>
            <a:lvl1pPr marL="0" indent="0" algn="l" rtl="0" eaLnBrk="1" fontAlgn="base" hangingPunct="1">
              <a:lnSpc>
                <a:spcPct val="110000"/>
              </a:lnSpc>
              <a:spcBef>
                <a:spcPct val="0"/>
              </a:spcBef>
              <a:spcAft>
                <a:spcPct val="0"/>
              </a:spcAft>
              <a:buClrTx/>
              <a:buFont typeface="Arial" pitchFamily="34" charset="0"/>
              <a:buNone/>
              <a:defRPr sz="1500">
                <a:solidFill>
                  <a:schemeClr val="tx1"/>
                </a:solidFill>
                <a:latin typeface="+mn-lt"/>
                <a:ea typeface="+mn-ea"/>
                <a:cs typeface="+mn-cs"/>
              </a:defRPr>
            </a:lvl1pPr>
            <a:lvl2pPr marL="179388" indent="-177800" algn="l" rtl="0" eaLnBrk="1" fontAlgn="base" hangingPunct="1">
              <a:lnSpc>
                <a:spcPct val="110000"/>
              </a:lnSpc>
              <a:spcBef>
                <a:spcPct val="0"/>
              </a:spcBef>
              <a:spcAft>
                <a:spcPct val="0"/>
              </a:spcAft>
              <a:buClrTx/>
              <a:buChar char="•"/>
              <a:defRPr sz="1500">
                <a:solidFill>
                  <a:srgbClr val="000000"/>
                </a:solidFill>
                <a:latin typeface="+mn-lt"/>
                <a:ea typeface="+mn-ea"/>
              </a:defRPr>
            </a:lvl2pPr>
            <a:lvl3pPr marL="3587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3pPr>
            <a:lvl4pPr marL="534988" indent="-174625" algn="l" rtl="0" eaLnBrk="1" fontAlgn="base" hangingPunct="1">
              <a:lnSpc>
                <a:spcPct val="110000"/>
              </a:lnSpc>
              <a:spcBef>
                <a:spcPct val="0"/>
              </a:spcBef>
              <a:spcAft>
                <a:spcPct val="0"/>
              </a:spcAft>
              <a:buClrTx/>
              <a:buChar char="•"/>
              <a:defRPr sz="1500">
                <a:solidFill>
                  <a:srgbClr val="000000"/>
                </a:solidFill>
                <a:latin typeface="+mn-lt"/>
                <a:ea typeface="+mn-ea"/>
              </a:defRPr>
            </a:lvl4pPr>
            <a:lvl5pPr marL="714375" indent="-177800" algn="l" rtl="0" eaLnBrk="1" fontAlgn="base" hangingPunct="1">
              <a:lnSpc>
                <a:spcPct val="110000"/>
              </a:lnSpc>
              <a:spcBef>
                <a:spcPct val="0"/>
              </a:spcBef>
              <a:spcAft>
                <a:spcPct val="0"/>
              </a:spcAft>
              <a:buClrTx/>
              <a:buChar char="•"/>
              <a:defRPr sz="1500">
                <a:solidFill>
                  <a:srgbClr val="000000"/>
                </a:solidFill>
                <a:latin typeface="+mn-lt"/>
                <a:ea typeface="+mn-ea"/>
              </a:defRPr>
            </a:lvl5pPr>
            <a:lvl6pPr marL="1171575" indent="-177800" algn="l" rtl="0" eaLnBrk="1" fontAlgn="base" hangingPunct="1">
              <a:lnSpc>
                <a:spcPct val="110000"/>
              </a:lnSpc>
              <a:spcBef>
                <a:spcPct val="0"/>
              </a:spcBef>
              <a:spcAft>
                <a:spcPct val="0"/>
              </a:spcAft>
              <a:buChar char="•"/>
              <a:defRPr sz="1600">
                <a:solidFill>
                  <a:schemeClr val="tx1"/>
                </a:solidFill>
                <a:latin typeface="+mn-lt"/>
                <a:ea typeface="+mn-ea"/>
              </a:defRPr>
            </a:lvl6pPr>
            <a:lvl7pPr marL="1628775" indent="-177800" algn="l" rtl="0" eaLnBrk="1" fontAlgn="base" hangingPunct="1">
              <a:lnSpc>
                <a:spcPct val="110000"/>
              </a:lnSpc>
              <a:spcBef>
                <a:spcPct val="0"/>
              </a:spcBef>
              <a:spcAft>
                <a:spcPct val="0"/>
              </a:spcAft>
              <a:buChar char="•"/>
              <a:defRPr sz="1600">
                <a:solidFill>
                  <a:schemeClr val="tx1"/>
                </a:solidFill>
                <a:latin typeface="+mn-lt"/>
                <a:ea typeface="+mn-ea"/>
              </a:defRPr>
            </a:lvl7pPr>
            <a:lvl8pPr marL="2085975" indent="-177800" algn="l" rtl="0" eaLnBrk="1" fontAlgn="base" hangingPunct="1">
              <a:lnSpc>
                <a:spcPct val="110000"/>
              </a:lnSpc>
              <a:spcBef>
                <a:spcPct val="0"/>
              </a:spcBef>
              <a:spcAft>
                <a:spcPct val="0"/>
              </a:spcAft>
              <a:buChar char="•"/>
              <a:defRPr sz="1600">
                <a:solidFill>
                  <a:schemeClr val="tx1"/>
                </a:solidFill>
                <a:latin typeface="+mn-lt"/>
                <a:ea typeface="+mn-ea"/>
              </a:defRPr>
            </a:lvl8pPr>
            <a:lvl9pPr marL="2543175" indent="-177800" algn="l" rtl="0" eaLnBrk="1" fontAlgn="base" hangingPunct="1">
              <a:lnSpc>
                <a:spcPct val="110000"/>
              </a:lnSpc>
              <a:spcBef>
                <a:spcPct val="0"/>
              </a:spcBef>
              <a:spcAft>
                <a:spcPct val="0"/>
              </a:spcAft>
              <a:buChar char="•"/>
              <a:defRPr sz="1600">
                <a:solidFill>
                  <a:schemeClr val="tx1"/>
                </a:solidFill>
                <a:latin typeface="+mn-lt"/>
                <a:ea typeface="+mn-ea"/>
              </a:defRPr>
            </a:lvl9pPr>
          </a:lstStyle>
          <a:p>
            <a:pPr defTabSz="1219170" fontAlgn="auto">
              <a:lnSpc>
                <a:spcPct val="100000"/>
              </a:lnSpc>
              <a:spcBef>
                <a:spcPts val="0"/>
              </a:spcBef>
              <a:spcAft>
                <a:spcPts val="0"/>
              </a:spcAft>
              <a:defRPr/>
            </a:pPr>
            <a:r>
              <a:rPr lang="en-GB" sz="1200" b="1" dirty="0">
                <a:solidFill>
                  <a:schemeClr val="bg1"/>
                </a:solidFill>
                <a:latin typeface="Arial"/>
                <a:ea typeface="MS PGothic"/>
              </a:rPr>
              <a:t>17 Projec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67" b="0" i="0" u="none" strike="noStrike" kern="1200" cap="none" spc="0" normalizeH="0" baseline="0" noProof="0" dirty="0">
                <a:ln>
                  <a:noFill/>
                </a:ln>
                <a:solidFill>
                  <a:schemeClr val="bg1"/>
                </a:solidFill>
                <a:effectLst/>
                <a:uLnTx/>
                <a:uFillTx/>
                <a:latin typeface="Arial"/>
                <a:ea typeface="MS PGothic"/>
              </a:rPr>
              <a:t>12 </a:t>
            </a:r>
            <a:r>
              <a:rPr lang="en-GB" sz="1067" dirty="0">
                <a:solidFill>
                  <a:schemeClr val="bg1"/>
                </a:solidFill>
                <a:latin typeface="Arial"/>
                <a:ea typeface="MS PGothic"/>
              </a:rPr>
              <a:t>R</a:t>
            </a:r>
            <a:r>
              <a:rPr kumimoji="0" lang="en-GB" sz="1067" b="0" i="0" u="none" strike="noStrike" kern="1200" cap="none" spc="0" normalizeH="0" baseline="0" noProof="0" dirty="0" err="1">
                <a:ln>
                  <a:noFill/>
                </a:ln>
                <a:solidFill>
                  <a:schemeClr val="bg1"/>
                </a:solidFill>
                <a:effectLst/>
                <a:uLnTx/>
                <a:uFillTx/>
                <a:latin typeface="Arial"/>
                <a:ea typeface="MS PGothic"/>
              </a:rPr>
              <a:t>efurbishments</a:t>
            </a:r>
            <a:r>
              <a:rPr kumimoji="0" lang="en-GB" sz="1067" b="0" i="0" u="none" strike="noStrike" kern="1200" cap="none" spc="0" normalizeH="0" baseline="0" noProof="0" dirty="0">
                <a:ln>
                  <a:noFill/>
                </a:ln>
                <a:solidFill>
                  <a:schemeClr val="bg1"/>
                </a:solidFill>
                <a:effectLst/>
                <a:uLnTx/>
                <a:uFillTx/>
                <a:latin typeface="Arial"/>
                <a:ea typeface="MS PGothic"/>
              </a:rPr>
              <a:t>, 3 extension projects, 2 </a:t>
            </a:r>
            <a:r>
              <a:rPr lang="en-GB" sz="1067" dirty="0">
                <a:solidFill>
                  <a:schemeClr val="bg1"/>
                </a:solidFill>
                <a:latin typeface="Arial"/>
                <a:ea typeface="MS PGothic"/>
              </a:rPr>
              <a:t>Greenfield</a:t>
            </a:r>
            <a:endParaRPr kumimoji="0" lang="en-GB" sz="1067" b="0" i="0" u="none" strike="noStrike" kern="1200" cap="none" spc="0" normalizeH="0" baseline="0" noProof="0" dirty="0">
              <a:ln>
                <a:noFill/>
              </a:ln>
              <a:solidFill>
                <a:schemeClr val="bg1"/>
              </a:solidFill>
              <a:effectLst/>
              <a:uLnTx/>
              <a:uFillTx/>
              <a:latin typeface="Arial"/>
              <a:ea typeface="MS PGothic"/>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67" b="0" i="0" u="none" strike="noStrike" kern="1200" cap="none" spc="0" normalizeH="0" baseline="0" noProof="0" dirty="0">
                <a:ln>
                  <a:noFill/>
                </a:ln>
                <a:solidFill>
                  <a:schemeClr val="bg1"/>
                </a:solidFill>
                <a:effectLst/>
                <a:uLnTx/>
                <a:uFillTx/>
                <a:latin typeface="Arial"/>
                <a:ea typeface="MS PGothic"/>
              </a:rPr>
              <a:t>650 MW </a:t>
            </a:r>
            <a:r>
              <a:rPr lang="en-GB" sz="1067" dirty="0">
                <a:solidFill>
                  <a:schemeClr val="bg1"/>
                </a:solidFill>
                <a:latin typeface="Arial"/>
                <a:ea typeface="MS PGothic"/>
              </a:rPr>
              <a:t>t</a:t>
            </a:r>
            <a:r>
              <a:rPr kumimoji="0" lang="en-GB" sz="1067" b="0" i="0" u="none" strike="noStrike" kern="1200" cap="none" spc="0" normalizeH="0" baseline="0" noProof="0" dirty="0" err="1">
                <a:ln>
                  <a:noFill/>
                </a:ln>
                <a:solidFill>
                  <a:schemeClr val="bg1"/>
                </a:solidFill>
                <a:effectLst/>
                <a:uLnTx/>
                <a:uFillTx/>
                <a:latin typeface="Arial"/>
                <a:ea typeface="MS PGothic"/>
              </a:rPr>
              <a:t>urbine</a:t>
            </a:r>
            <a:r>
              <a:rPr kumimoji="0" lang="en-GB" sz="1067" b="0" i="0" u="none" strike="noStrike" kern="1200" cap="none" spc="0" normalizeH="0" baseline="0" noProof="0" dirty="0">
                <a:ln>
                  <a:noFill/>
                </a:ln>
                <a:solidFill>
                  <a:schemeClr val="bg1"/>
                </a:solidFill>
                <a:effectLst/>
                <a:uLnTx/>
                <a:uFillTx/>
                <a:latin typeface="Arial"/>
                <a:ea typeface="MS PGothic"/>
              </a:rPr>
              <a:t> </a:t>
            </a:r>
            <a:r>
              <a:rPr lang="en-GB" sz="1067" dirty="0">
                <a:solidFill>
                  <a:schemeClr val="bg1"/>
                </a:solidFill>
                <a:latin typeface="Arial"/>
                <a:ea typeface="MS PGothic"/>
              </a:rPr>
              <a:t>c</a:t>
            </a:r>
            <a:r>
              <a:rPr kumimoji="0" lang="en-GB" sz="1067" b="0" i="0" u="none" strike="noStrike" kern="1200" cap="none" spc="0" normalizeH="0" baseline="0" noProof="0" dirty="0" err="1">
                <a:ln>
                  <a:noFill/>
                </a:ln>
                <a:solidFill>
                  <a:schemeClr val="bg1"/>
                </a:solidFill>
                <a:effectLst/>
                <a:uLnTx/>
                <a:uFillTx/>
                <a:latin typeface="Arial"/>
                <a:ea typeface="MS PGothic"/>
              </a:rPr>
              <a:t>apacity</a:t>
            </a:r>
            <a:endParaRPr kumimoji="0" lang="en-GB" sz="1067" b="0" i="0" u="none" strike="noStrike" kern="1200" cap="none" spc="0" normalizeH="0" baseline="0" noProof="0" dirty="0">
              <a:ln>
                <a:noFill/>
              </a:ln>
              <a:solidFill>
                <a:schemeClr val="bg1"/>
              </a:solidFill>
              <a:effectLst/>
              <a:uLnTx/>
              <a:uFillTx/>
              <a:latin typeface="Arial"/>
              <a:ea typeface="MS PGothic"/>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67" b="0" i="0" u="none" strike="noStrike" kern="1200" cap="none" spc="0" normalizeH="0" baseline="0" noProof="0" dirty="0">
                <a:ln>
                  <a:noFill/>
                </a:ln>
                <a:solidFill>
                  <a:schemeClr val="bg1"/>
                </a:solidFill>
                <a:effectLst/>
                <a:uLnTx/>
                <a:uFillTx/>
                <a:latin typeface="Arial"/>
                <a:ea typeface="MS PGothic"/>
              </a:rPr>
              <a:t>600 MW pump </a:t>
            </a:r>
            <a:r>
              <a:rPr lang="en-GB" sz="1067" dirty="0">
                <a:solidFill>
                  <a:schemeClr val="bg1"/>
                </a:solidFill>
                <a:latin typeface="Arial"/>
                <a:ea typeface="MS PGothic"/>
              </a:rPr>
              <a:t>ca</a:t>
            </a:r>
            <a:r>
              <a:rPr kumimoji="0" lang="en-GB" sz="1067" b="0" i="0" u="none" strike="noStrike" kern="1200" cap="none" spc="0" normalizeH="0" baseline="0" noProof="0" dirty="0" err="1">
                <a:ln>
                  <a:noFill/>
                </a:ln>
                <a:solidFill>
                  <a:schemeClr val="bg1"/>
                </a:solidFill>
                <a:effectLst/>
                <a:uLnTx/>
                <a:uFillTx/>
                <a:latin typeface="Arial"/>
                <a:ea typeface="MS PGothic"/>
              </a:rPr>
              <a:t>pacity</a:t>
            </a:r>
            <a:endParaRPr kumimoji="0" lang="en-GB" sz="1067" b="0" i="0" u="none" strike="noStrike" kern="1200" cap="none" spc="0" normalizeH="0" baseline="0" noProof="0" dirty="0">
              <a:ln>
                <a:noFill/>
              </a:ln>
              <a:solidFill>
                <a:schemeClr val="bg1"/>
              </a:solidFill>
              <a:effectLst/>
              <a:uLnTx/>
              <a:uFillTx/>
              <a:latin typeface="Arial"/>
              <a:ea typeface="MS PGothic"/>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67" b="0" i="0" u="none" strike="noStrike" kern="1200" cap="none" spc="0" normalizeH="0" baseline="0" noProof="0" dirty="0">
                <a:ln>
                  <a:noFill/>
                </a:ln>
                <a:solidFill>
                  <a:schemeClr val="bg1"/>
                </a:solidFill>
                <a:effectLst/>
                <a:uLnTx/>
                <a:uFillTx/>
                <a:latin typeface="Arial"/>
                <a:ea typeface="MS PGothic"/>
              </a:rPr>
              <a:t>470 GWh g</a:t>
            </a:r>
            <a:r>
              <a:rPr lang="en-GB" sz="1067" dirty="0" err="1">
                <a:solidFill>
                  <a:schemeClr val="bg1"/>
                </a:solidFill>
                <a:latin typeface="Arial"/>
                <a:ea typeface="MS PGothic"/>
              </a:rPr>
              <a:t>eneration</a:t>
            </a:r>
            <a:endParaRPr kumimoji="0" lang="en-GB" sz="1067" b="0" i="0" u="none" strike="noStrike" kern="1200" cap="none" spc="0" normalizeH="0" baseline="0" noProof="0" dirty="0">
              <a:ln>
                <a:noFill/>
              </a:ln>
              <a:solidFill>
                <a:schemeClr val="bg1"/>
              </a:solidFill>
              <a:effectLst/>
              <a:uLnTx/>
              <a:uFillTx/>
              <a:latin typeface="Arial"/>
              <a:ea typeface="MS PGothic"/>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67" b="0" i="0" u="none" strike="noStrike" kern="1200" cap="none" spc="0" normalizeH="0" baseline="0" noProof="0" dirty="0">
                <a:ln>
                  <a:noFill/>
                </a:ln>
                <a:solidFill>
                  <a:schemeClr val="bg1"/>
                </a:solidFill>
                <a:effectLst/>
                <a:uLnTx/>
                <a:uFillTx/>
                <a:latin typeface="Arial"/>
                <a:ea typeface="MS PGothic"/>
              </a:rPr>
              <a:t>1,5 </a:t>
            </a:r>
            <a:r>
              <a:rPr lang="en-GB" sz="1067" dirty="0">
                <a:solidFill>
                  <a:schemeClr val="bg1"/>
                </a:solidFill>
                <a:latin typeface="Arial"/>
                <a:ea typeface="MS PGothic"/>
              </a:rPr>
              <a:t>b</a:t>
            </a:r>
            <a:r>
              <a:rPr kumimoji="0" lang="en-GB" sz="1067" b="0" i="0" u="none" strike="noStrike" kern="1200" cap="none" spc="0" normalizeH="0" baseline="0" noProof="0" dirty="0" err="1">
                <a:ln>
                  <a:noFill/>
                </a:ln>
                <a:solidFill>
                  <a:schemeClr val="bg1"/>
                </a:solidFill>
                <a:effectLst/>
                <a:uLnTx/>
                <a:uFillTx/>
                <a:latin typeface="Arial"/>
                <a:ea typeface="MS PGothic"/>
              </a:rPr>
              <a:t>illion</a:t>
            </a:r>
            <a:r>
              <a:rPr kumimoji="0" lang="en-GB" sz="1067" b="0" i="0" u="none" strike="noStrike" kern="1200" cap="none" spc="0" normalizeH="0" baseline="0" noProof="0" dirty="0">
                <a:ln>
                  <a:noFill/>
                </a:ln>
                <a:solidFill>
                  <a:schemeClr val="bg1"/>
                </a:solidFill>
                <a:effectLst/>
                <a:uLnTx/>
                <a:uFillTx/>
                <a:latin typeface="Arial"/>
                <a:ea typeface="MS PGothic"/>
              </a:rPr>
              <a:t> Euro investment </a:t>
            </a:r>
          </a:p>
        </p:txBody>
      </p:sp>
      <p:cxnSp>
        <p:nvCxnSpPr>
          <p:cNvPr id="175" name="Gerade Verbindung 167">
            <a:extLst>
              <a:ext uri="{FF2B5EF4-FFF2-40B4-BE49-F238E27FC236}">
                <a16:creationId xmlns:a16="http://schemas.microsoft.com/office/drawing/2014/main" id="{18D15298-D668-FE51-D671-D96409C768B6}"/>
              </a:ext>
            </a:extLst>
          </p:cNvPr>
          <p:cNvCxnSpPr>
            <a:endCxn id="59" idx="12"/>
          </p:cNvCxnSpPr>
          <p:nvPr/>
        </p:nvCxnSpPr>
        <p:spPr bwMode="auto">
          <a:xfrm>
            <a:off x="5305701" y="2970319"/>
            <a:ext cx="589806" cy="107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6" name="Gerade Verbindung 167">
            <a:extLst>
              <a:ext uri="{FF2B5EF4-FFF2-40B4-BE49-F238E27FC236}">
                <a16:creationId xmlns:a16="http://schemas.microsoft.com/office/drawing/2014/main" id="{E413663B-CAAA-A948-7A7B-1A9903E21F8D}"/>
              </a:ext>
            </a:extLst>
          </p:cNvPr>
          <p:cNvCxnSpPr/>
          <p:nvPr/>
        </p:nvCxnSpPr>
        <p:spPr bwMode="auto">
          <a:xfrm>
            <a:off x="5313696" y="2931202"/>
            <a:ext cx="660866" cy="0"/>
          </a:xfrm>
          <a:prstGeom prst="line">
            <a:avLst/>
          </a:prstGeom>
          <a:solidFill>
            <a:srgbClr val="4AADBB"/>
          </a:solidFill>
          <a:ln w="127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29" name="Gruppieren 128">
            <a:extLst>
              <a:ext uri="{FF2B5EF4-FFF2-40B4-BE49-F238E27FC236}">
                <a16:creationId xmlns:a16="http://schemas.microsoft.com/office/drawing/2014/main" id="{D0E0EA11-9010-4A2D-C9E0-12122109C4C0}"/>
              </a:ext>
            </a:extLst>
          </p:cNvPr>
          <p:cNvGrpSpPr/>
          <p:nvPr/>
        </p:nvGrpSpPr>
        <p:grpSpPr>
          <a:xfrm>
            <a:off x="6839551" y="2859593"/>
            <a:ext cx="158309" cy="206647"/>
            <a:chOff x="9539689" y="3142796"/>
            <a:chExt cx="158309" cy="206647"/>
          </a:xfrm>
        </p:grpSpPr>
        <p:sp>
          <p:nvSpPr>
            <p:cNvPr id="130" name="Freihandform 176">
              <a:extLst>
                <a:ext uri="{FF2B5EF4-FFF2-40B4-BE49-F238E27FC236}">
                  <a16:creationId xmlns:a16="http://schemas.microsoft.com/office/drawing/2014/main" id="{5F18C0AE-C4EB-F7B4-35A1-D39249953AF1}"/>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131" name="Freihandform: Form 78">
              <a:extLst>
                <a:ext uri="{FF2B5EF4-FFF2-40B4-BE49-F238E27FC236}">
                  <a16:creationId xmlns:a16="http://schemas.microsoft.com/office/drawing/2014/main" id="{B83595EE-D029-8A10-EE60-66DCC6E78F12}"/>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132" name="Ellipse 131">
              <a:extLst>
                <a:ext uri="{FF2B5EF4-FFF2-40B4-BE49-F238E27FC236}">
                  <a16:creationId xmlns:a16="http://schemas.microsoft.com/office/drawing/2014/main" id="{31B1AAB6-FAC6-8BD8-AD23-401BBB0091FE}"/>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grpSp>
        <p:nvGrpSpPr>
          <p:cNvPr id="53" name="Gruppieren 52">
            <a:extLst>
              <a:ext uri="{FF2B5EF4-FFF2-40B4-BE49-F238E27FC236}">
                <a16:creationId xmlns:a16="http://schemas.microsoft.com/office/drawing/2014/main" id="{A2E7998A-868E-3782-2DA8-19E554288D2E}"/>
              </a:ext>
            </a:extLst>
          </p:cNvPr>
          <p:cNvGrpSpPr/>
          <p:nvPr/>
        </p:nvGrpSpPr>
        <p:grpSpPr>
          <a:xfrm>
            <a:off x="5917438" y="2726060"/>
            <a:ext cx="158309" cy="206647"/>
            <a:chOff x="9539689" y="3142796"/>
            <a:chExt cx="158309" cy="206647"/>
          </a:xfrm>
        </p:grpSpPr>
        <p:sp>
          <p:nvSpPr>
            <p:cNvPr id="54" name="Freihandform 176">
              <a:extLst>
                <a:ext uri="{FF2B5EF4-FFF2-40B4-BE49-F238E27FC236}">
                  <a16:creationId xmlns:a16="http://schemas.microsoft.com/office/drawing/2014/main" id="{E7A3AD51-364A-E4B2-5567-F421FD873ABE}"/>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55" name="Freihandform: Form 78">
              <a:extLst>
                <a:ext uri="{FF2B5EF4-FFF2-40B4-BE49-F238E27FC236}">
                  <a16:creationId xmlns:a16="http://schemas.microsoft.com/office/drawing/2014/main" id="{79A9FA39-00CE-71C0-B768-846B092BF74E}"/>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56" name="Ellipse 55">
              <a:extLst>
                <a:ext uri="{FF2B5EF4-FFF2-40B4-BE49-F238E27FC236}">
                  <a16:creationId xmlns:a16="http://schemas.microsoft.com/office/drawing/2014/main" id="{056E4470-3BF2-7578-6C6B-41F515404FFF}"/>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grpSp>
        <p:nvGrpSpPr>
          <p:cNvPr id="57" name="Gruppieren 56">
            <a:extLst>
              <a:ext uri="{FF2B5EF4-FFF2-40B4-BE49-F238E27FC236}">
                <a16:creationId xmlns:a16="http://schemas.microsoft.com/office/drawing/2014/main" id="{A7C6B16F-C9D2-F7C5-C5E0-475F90BEA655}"/>
              </a:ext>
            </a:extLst>
          </p:cNvPr>
          <p:cNvGrpSpPr/>
          <p:nvPr/>
        </p:nvGrpSpPr>
        <p:grpSpPr>
          <a:xfrm>
            <a:off x="5816252" y="2780439"/>
            <a:ext cx="158309" cy="206647"/>
            <a:chOff x="9539689" y="3142796"/>
            <a:chExt cx="158309" cy="206647"/>
          </a:xfrm>
        </p:grpSpPr>
        <p:sp>
          <p:nvSpPr>
            <p:cNvPr id="58" name="Freihandform 176">
              <a:extLst>
                <a:ext uri="{FF2B5EF4-FFF2-40B4-BE49-F238E27FC236}">
                  <a16:creationId xmlns:a16="http://schemas.microsoft.com/office/drawing/2014/main" id="{121D480F-98AB-5D4C-54B8-58C7A717E2B7}"/>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59" name="Freihandform: Form 78">
              <a:extLst>
                <a:ext uri="{FF2B5EF4-FFF2-40B4-BE49-F238E27FC236}">
                  <a16:creationId xmlns:a16="http://schemas.microsoft.com/office/drawing/2014/main" id="{75B9DAFD-2460-F100-4760-E748183D9615}"/>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60" name="Ellipse 59">
              <a:extLst>
                <a:ext uri="{FF2B5EF4-FFF2-40B4-BE49-F238E27FC236}">
                  <a16:creationId xmlns:a16="http://schemas.microsoft.com/office/drawing/2014/main" id="{A976F1D4-FD73-D4B1-D2C6-4D3AB10D35C6}"/>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grpSp>
        <p:nvGrpSpPr>
          <p:cNvPr id="2" name="Gruppieren 1">
            <a:extLst>
              <a:ext uri="{FF2B5EF4-FFF2-40B4-BE49-F238E27FC236}">
                <a16:creationId xmlns:a16="http://schemas.microsoft.com/office/drawing/2014/main" id="{39767A2F-F0CC-98E2-5B2F-36FD1795DCB0}"/>
              </a:ext>
            </a:extLst>
          </p:cNvPr>
          <p:cNvGrpSpPr/>
          <p:nvPr/>
        </p:nvGrpSpPr>
        <p:grpSpPr>
          <a:xfrm>
            <a:off x="5724288" y="2836181"/>
            <a:ext cx="158309" cy="206647"/>
            <a:chOff x="9539689" y="3142796"/>
            <a:chExt cx="158309" cy="206647"/>
          </a:xfrm>
        </p:grpSpPr>
        <p:sp>
          <p:nvSpPr>
            <p:cNvPr id="3" name="Freihandform 176">
              <a:extLst>
                <a:ext uri="{FF2B5EF4-FFF2-40B4-BE49-F238E27FC236}">
                  <a16:creationId xmlns:a16="http://schemas.microsoft.com/office/drawing/2014/main" id="{A200BA98-9B4A-D117-B1EE-21F8F12D5D11}"/>
                </a:ext>
              </a:extLst>
            </p:cNvPr>
            <p:cNvSpPr/>
            <p:nvPr/>
          </p:nvSpPr>
          <p:spPr bwMode="auto">
            <a:xfrm>
              <a:off x="9545109" y="3146807"/>
              <a:ext cx="145568" cy="195582"/>
            </a:xfrm>
            <a:custGeom>
              <a:avLst/>
              <a:gdLst>
                <a:gd name="connsiteX0" fmla="*/ 1730828 w 3442062"/>
                <a:gd name="connsiteY0" fmla="*/ 4611189 h 4611189"/>
                <a:gd name="connsiteX1" fmla="*/ 3442062 w 3442062"/>
                <a:gd name="connsiteY1" fmla="*/ 1985555 h 4611189"/>
                <a:gd name="connsiteX2" fmla="*/ 1841862 w 3442062"/>
                <a:gd name="connsiteY2" fmla="*/ 0 h 4611189"/>
                <a:gd name="connsiteX3" fmla="*/ 0 w 3442062"/>
                <a:gd name="connsiteY3" fmla="*/ 1979023 h 4611189"/>
                <a:gd name="connsiteX4" fmla="*/ 1730828 w 3442062"/>
                <a:gd name="connsiteY4" fmla="*/ 4611189 h 4611189"/>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2"/>
                <a:gd name="connsiteY0" fmla="*/ 4624252 h 4624252"/>
                <a:gd name="connsiteX1" fmla="*/ 3442062 w 3442062"/>
                <a:gd name="connsiteY1" fmla="*/ 1998618 h 4624252"/>
                <a:gd name="connsiteX2" fmla="*/ 1737359 w 3442062"/>
                <a:gd name="connsiteY2" fmla="*/ 0 h 4624252"/>
                <a:gd name="connsiteX3" fmla="*/ 0 w 3442062"/>
                <a:gd name="connsiteY3" fmla="*/ 1992086 h 4624252"/>
                <a:gd name="connsiteX4" fmla="*/ 1730828 w 3442062"/>
                <a:gd name="connsiteY4" fmla="*/ 4624252 h 4624252"/>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 name="connsiteX0" fmla="*/ 1730828 w 3442064"/>
                <a:gd name="connsiteY0" fmla="*/ 4624689 h 4624689"/>
                <a:gd name="connsiteX1" fmla="*/ 3442062 w 3442064"/>
                <a:gd name="connsiteY1" fmla="*/ 1999055 h 4624689"/>
                <a:gd name="connsiteX2" fmla="*/ 1737359 w 3442064"/>
                <a:gd name="connsiteY2" fmla="*/ 437 h 4624689"/>
                <a:gd name="connsiteX3" fmla="*/ 0 w 3442064"/>
                <a:gd name="connsiteY3" fmla="*/ 1992523 h 4624689"/>
                <a:gd name="connsiteX4" fmla="*/ 1730828 w 3442064"/>
                <a:gd name="connsiteY4" fmla="*/ 4624689 h 4624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2064" h="4624689">
                  <a:moveTo>
                    <a:pt x="1730828" y="4624689"/>
                  </a:moveTo>
                  <a:cubicBezTo>
                    <a:pt x="2301239" y="3749478"/>
                    <a:pt x="3080656" y="3187775"/>
                    <a:pt x="3442062" y="1999055"/>
                  </a:cubicBezTo>
                  <a:cubicBezTo>
                    <a:pt x="3443151" y="1228346"/>
                    <a:pt x="3068682" y="27652"/>
                    <a:pt x="1737359" y="437"/>
                  </a:cubicBezTo>
                  <a:cubicBezTo>
                    <a:pt x="406036" y="-26778"/>
                    <a:pt x="1089" y="1221814"/>
                    <a:pt x="0" y="1992523"/>
                  </a:cubicBezTo>
                  <a:cubicBezTo>
                    <a:pt x="348343" y="3007072"/>
                    <a:pt x="1153885" y="3747300"/>
                    <a:pt x="1730828" y="4624689"/>
                  </a:cubicBezTo>
                  <a:close/>
                </a:path>
              </a:pathLst>
            </a:cu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sp>
          <p:nvSpPr>
            <p:cNvPr id="10" name="Freihandform: Form 78">
              <a:extLst>
                <a:ext uri="{FF2B5EF4-FFF2-40B4-BE49-F238E27FC236}">
                  <a16:creationId xmlns:a16="http://schemas.microsoft.com/office/drawing/2014/main" id="{8E258A67-81E7-9EA6-F1A1-287BA3F4997C}"/>
                </a:ext>
              </a:extLst>
            </p:cNvPr>
            <p:cNvSpPr/>
            <p:nvPr/>
          </p:nvSpPr>
          <p:spPr>
            <a:xfrm>
              <a:off x="9539689" y="3142796"/>
              <a:ext cx="158309" cy="206647"/>
            </a:xfrm>
            <a:custGeom>
              <a:avLst/>
              <a:gdLst>
                <a:gd name="connsiteX0" fmla="*/ 1874044 w 3743325"/>
                <a:gd name="connsiteY0" fmla="*/ 7144 h 4886325"/>
                <a:gd name="connsiteX1" fmla="*/ 7144 w 3743325"/>
                <a:gd name="connsiteY1" fmla="*/ 1874044 h 4886325"/>
                <a:gd name="connsiteX2" fmla="*/ 258890 w 3743325"/>
                <a:gd name="connsiteY2" fmla="*/ 2810885 h 4886325"/>
                <a:gd name="connsiteX3" fmla="*/ 386477 w 3743325"/>
                <a:gd name="connsiteY3" fmla="*/ 3002242 h 4886325"/>
                <a:gd name="connsiteX4" fmla="*/ 1792938 w 3743325"/>
                <a:gd name="connsiteY4" fmla="*/ 4883944 h 4886325"/>
                <a:gd name="connsiteX5" fmla="*/ 1955159 w 3743325"/>
                <a:gd name="connsiteY5" fmla="*/ 4883944 h 4886325"/>
                <a:gd name="connsiteX6" fmla="*/ 3361601 w 3743325"/>
                <a:gd name="connsiteY6" fmla="*/ 3002233 h 4886325"/>
                <a:gd name="connsiteX7" fmla="*/ 3489189 w 3743325"/>
                <a:gd name="connsiteY7" fmla="*/ 2810875 h 4886325"/>
                <a:gd name="connsiteX8" fmla="*/ 3740944 w 3743325"/>
                <a:gd name="connsiteY8" fmla="*/ 1874044 h 4886325"/>
                <a:gd name="connsiteX9" fmla="*/ 1874044 w 3743325"/>
                <a:gd name="connsiteY9" fmla="*/ 7144 h 4886325"/>
                <a:gd name="connsiteX10" fmla="*/ 3242139 w 3743325"/>
                <a:gd name="connsiteY10" fmla="*/ 2667295 h 4886325"/>
                <a:gd name="connsiteX11" fmla="*/ 3133725 w 3743325"/>
                <a:gd name="connsiteY11" fmla="*/ 2829830 h 4886325"/>
                <a:gd name="connsiteX12" fmla="*/ 1874044 w 3743325"/>
                <a:gd name="connsiteY12" fmla="*/ 4515164 h 4886325"/>
                <a:gd name="connsiteX13" fmla="*/ 615048 w 3743325"/>
                <a:gd name="connsiteY13" fmla="*/ 2830744 h 4886325"/>
                <a:gd name="connsiteX14" fmla="*/ 614363 w 3743325"/>
                <a:gd name="connsiteY14" fmla="*/ 2829830 h 4886325"/>
                <a:gd name="connsiteX15" fmla="*/ 505949 w 3743325"/>
                <a:gd name="connsiteY15" fmla="*/ 2667295 h 4886325"/>
                <a:gd name="connsiteX16" fmla="*/ 292894 w 3743325"/>
                <a:gd name="connsiteY16" fmla="*/ 1874044 h 4886325"/>
                <a:gd name="connsiteX17" fmla="*/ 1874044 w 3743325"/>
                <a:gd name="connsiteY17" fmla="*/ 292894 h 4886325"/>
                <a:gd name="connsiteX18" fmla="*/ 3455194 w 3743325"/>
                <a:gd name="connsiteY18" fmla="*/ 1874044 h 4886325"/>
                <a:gd name="connsiteX19" fmla="*/ 3242139 w 3743325"/>
                <a:gd name="connsiteY19" fmla="*/ 2667295 h 488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43325" h="4886325">
                  <a:moveTo>
                    <a:pt x="1874044" y="7144"/>
                  </a:moveTo>
                  <a:cubicBezTo>
                    <a:pt x="844629" y="7144"/>
                    <a:pt x="7144" y="844629"/>
                    <a:pt x="7144" y="1874044"/>
                  </a:cubicBezTo>
                  <a:cubicBezTo>
                    <a:pt x="7144" y="2203552"/>
                    <a:pt x="94202" y="2527507"/>
                    <a:pt x="258890" y="2810885"/>
                  </a:cubicBezTo>
                  <a:cubicBezTo>
                    <a:pt x="297294" y="2876950"/>
                    <a:pt x="340214" y="2941320"/>
                    <a:pt x="386477" y="3002242"/>
                  </a:cubicBezTo>
                  <a:lnTo>
                    <a:pt x="1792938" y="4883944"/>
                  </a:lnTo>
                  <a:lnTo>
                    <a:pt x="1955159" y="4883944"/>
                  </a:lnTo>
                  <a:lnTo>
                    <a:pt x="3361601" y="3002233"/>
                  </a:lnTo>
                  <a:cubicBezTo>
                    <a:pt x="3407874" y="2941320"/>
                    <a:pt x="3450793" y="2876941"/>
                    <a:pt x="3489189" y="2810875"/>
                  </a:cubicBezTo>
                  <a:cubicBezTo>
                    <a:pt x="3653885" y="2527507"/>
                    <a:pt x="3740944" y="2203552"/>
                    <a:pt x="3740944" y="1874044"/>
                  </a:cubicBezTo>
                  <a:cubicBezTo>
                    <a:pt x="3740944" y="844629"/>
                    <a:pt x="2903458" y="7144"/>
                    <a:pt x="1874044" y="7144"/>
                  </a:cubicBezTo>
                  <a:close/>
                  <a:moveTo>
                    <a:pt x="3242139" y="2667295"/>
                  </a:moveTo>
                  <a:cubicBezTo>
                    <a:pt x="3209525" y="2723407"/>
                    <a:pt x="3173054" y="2778090"/>
                    <a:pt x="3133725" y="2829830"/>
                  </a:cubicBezTo>
                  <a:lnTo>
                    <a:pt x="1874044" y="4515164"/>
                  </a:lnTo>
                  <a:lnTo>
                    <a:pt x="615048" y="2830744"/>
                  </a:lnTo>
                  <a:lnTo>
                    <a:pt x="614363" y="2829830"/>
                  </a:lnTo>
                  <a:cubicBezTo>
                    <a:pt x="575034" y="2778100"/>
                    <a:pt x="538563" y="2723417"/>
                    <a:pt x="505949" y="2667295"/>
                  </a:cubicBezTo>
                  <a:cubicBezTo>
                    <a:pt x="366560" y="2427475"/>
                    <a:pt x="292894" y="2153174"/>
                    <a:pt x="292894" y="1874044"/>
                  </a:cubicBezTo>
                  <a:cubicBezTo>
                    <a:pt x="292894" y="1002192"/>
                    <a:pt x="1002202" y="292894"/>
                    <a:pt x="1874044" y="292894"/>
                  </a:cubicBezTo>
                  <a:cubicBezTo>
                    <a:pt x="2745886" y="292894"/>
                    <a:pt x="3455194" y="1002192"/>
                    <a:pt x="3455194" y="1874044"/>
                  </a:cubicBezTo>
                  <a:cubicBezTo>
                    <a:pt x="3455194" y="2153174"/>
                    <a:pt x="3381527" y="2427475"/>
                    <a:pt x="3242139" y="2667295"/>
                  </a:cubicBezTo>
                  <a:close/>
                </a:path>
              </a:pathLst>
            </a:custGeom>
            <a:solidFill>
              <a:schemeClr val="tx2"/>
            </a:solidFill>
            <a:ln w="9525" cap="flat">
              <a:noFill/>
              <a:prstDash val="solid"/>
              <a:miter/>
            </a:ln>
          </p:spPr>
          <p:txBody>
            <a:bodyPr rtlCol="0" anchor="ctr"/>
            <a:lstStyle/>
            <a:p>
              <a:endParaRPr lang="en-GB" dirty="0"/>
            </a:p>
          </p:txBody>
        </p:sp>
        <p:sp>
          <p:nvSpPr>
            <p:cNvPr id="12" name="Ellipse 11">
              <a:extLst>
                <a:ext uri="{FF2B5EF4-FFF2-40B4-BE49-F238E27FC236}">
                  <a16:creationId xmlns:a16="http://schemas.microsoft.com/office/drawing/2014/main" id="{EEC34D77-514F-B2E0-32EB-E3339BC4BBF6}"/>
                </a:ext>
              </a:extLst>
            </p:cNvPr>
            <p:cNvSpPr/>
            <p:nvPr/>
          </p:nvSpPr>
          <p:spPr bwMode="auto">
            <a:xfrm>
              <a:off x="9587271" y="3190378"/>
              <a:ext cx="63145" cy="6314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500" b="0" i="0" u="none" strike="noStrike" cap="none" normalizeH="0" baseline="0" dirty="0" err="1">
                <a:ln>
                  <a:noFill/>
                </a:ln>
                <a:solidFill>
                  <a:schemeClr val="tx1"/>
                </a:solidFill>
                <a:effectLst/>
                <a:latin typeface="Arial" charset="0"/>
                <a:ea typeface="MS PGothic" pitchFamily="34" charset="-128"/>
              </a:endParaRPr>
            </a:p>
          </p:txBody>
        </p:sp>
      </p:grpSp>
      <p:sp>
        <p:nvSpPr>
          <p:cNvPr id="14" name="Foliennummernplatzhalter 5">
            <a:extLst>
              <a:ext uri="{FF2B5EF4-FFF2-40B4-BE49-F238E27FC236}">
                <a16:creationId xmlns:a16="http://schemas.microsoft.com/office/drawing/2014/main" id="{B3040193-5C6F-5C05-0135-CE3E9A72A8E0}"/>
              </a:ext>
            </a:extLst>
          </p:cNvPr>
          <p:cNvSpPr>
            <a:spLocks noGrp="1"/>
          </p:cNvSpPr>
          <p:nvPr>
            <p:ph type="sldNum" sz="quarter" idx="19"/>
          </p:nvPr>
        </p:nvSpPr>
        <p:spPr bwMode="auto">
          <a:xfrm>
            <a:off x="11498322" y="6387351"/>
            <a:ext cx="322203" cy="123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none" lIns="0" tIns="0" rIns="0" bIns="0" numCol="1" anchor="ctr" anchorCtr="0" compatLnSpc="1">
            <a:prstTxWarp prst="textNoShape">
              <a:avLst/>
            </a:prstTxWarp>
            <a:spAutoFit/>
          </a:bodyPr>
          <a:lstStyle>
            <a:defPPr>
              <a:defRPr lang="de-DE"/>
            </a:defPPr>
            <a:lvl1pPr marL="0" algn="l" defTabSz="914400" rtl="0" eaLnBrk="1" latinLnBrk="0" hangingPunct="1">
              <a:lnSpc>
                <a:spcPct val="100000"/>
              </a:lnSpc>
              <a:defRPr sz="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0" fontAlgn="base" hangingPunct="0">
              <a:spcBef>
                <a:spcPct val="0"/>
              </a:spcBef>
              <a:spcAft>
                <a:spcPct val="0"/>
              </a:spcAft>
            </a:pPr>
            <a:r>
              <a:rPr lang="en-GB" dirty="0" err="1"/>
              <a:t>Seite</a:t>
            </a:r>
            <a:r>
              <a:rPr lang="en-GB" dirty="0"/>
              <a:t> </a:t>
            </a:r>
            <a:fld id="{56C9A048-A28E-493E-A30E-F5A55EC874C9}" type="slidenum">
              <a:rPr lang="en-GB" smtClean="0"/>
              <a:pPr algn="r" eaLnBrk="0" fontAlgn="base" hangingPunct="0">
                <a:spcBef>
                  <a:spcPct val="0"/>
                </a:spcBef>
                <a:spcAft>
                  <a:spcPct val="0"/>
                </a:spcAft>
              </a:pPr>
              <a:t>8</a:t>
            </a:fld>
            <a:endParaRPr lang="en-GB" dirty="0"/>
          </a:p>
        </p:txBody>
      </p:sp>
    </p:spTree>
    <p:extLst>
      <p:ext uri="{BB962C8B-B14F-4D97-AF65-F5344CB8AC3E}">
        <p14:creationId xmlns:p14="http://schemas.microsoft.com/office/powerpoint/2010/main" val="1502554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8E921E5-AEB3-599A-0D78-667C1C94A42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81" imgH="381" progId="TCLayout.ActiveDocument.1">
                  <p:embed/>
                </p:oleObj>
              </mc:Choice>
              <mc:Fallback>
                <p:oleObj name="think-cell Folie" r:id="rId4" imgW="381" imgH="381" progId="TCLayout.ActiveDocument.1">
                  <p:embed/>
                  <p:pic>
                    <p:nvPicPr>
                      <p:cNvPr id="8" name="Objekt 7" hidden="1">
                        <a:extLst>
                          <a:ext uri="{FF2B5EF4-FFF2-40B4-BE49-F238E27FC236}">
                            <a16:creationId xmlns:a16="http://schemas.microsoft.com/office/drawing/2014/main" id="{48E921E5-AEB3-599A-0D78-667C1C94A4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EE481B63-42DD-1E48-F4DB-501C33F91F0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AT" sz="800" b="0" i="0" u="none" strike="noStrike" kern="1200" cap="none" spc="0" normalizeH="0" baseline="0" noProof="0">
                <a:ln>
                  <a:noFill/>
                </a:ln>
                <a:solidFill>
                  <a:srgbClr val="00488E"/>
                </a:solidFill>
                <a:effectLst/>
                <a:uLnTx/>
                <a:uFillTx/>
                <a:latin typeface="Arial"/>
                <a:ea typeface="MS PGothic"/>
                <a:cs typeface="+mn-cs"/>
              </a:rPr>
              <a:t>Seite </a:t>
            </a:r>
            <a:fld id="{56C9A048-A28E-493E-A30E-F5A55EC874C9}" type="slidenum">
              <a:rPr kumimoji="0" lang="de-AT" sz="800" b="0" i="0" u="none" strike="noStrike" kern="1200" cap="none" spc="0" normalizeH="0" baseline="0" noProof="0" smtClean="0">
                <a:ln>
                  <a:noFill/>
                </a:ln>
                <a:solidFill>
                  <a:srgbClr val="00488E"/>
                </a:solidFill>
                <a:effectLst/>
                <a:uLnTx/>
                <a:uFillTx/>
                <a:latin typeface="Arial"/>
                <a:ea typeface="MS PGothic"/>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e-AT" sz="800" b="0" i="0" u="none" strike="noStrike" kern="1200" cap="none" spc="0" normalizeH="0" baseline="0" noProof="0" dirty="0">
              <a:ln>
                <a:noFill/>
              </a:ln>
              <a:solidFill>
                <a:srgbClr val="00488E"/>
              </a:solidFill>
              <a:effectLst/>
              <a:uLnTx/>
              <a:uFillTx/>
              <a:latin typeface="Arial"/>
              <a:ea typeface="MS PGothic"/>
              <a:cs typeface="+mn-cs"/>
            </a:endParaRPr>
          </a:p>
        </p:txBody>
      </p:sp>
      <p:sp>
        <p:nvSpPr>
          <p:cNvPr id="6" name="Titel 5">
            <a:extLst>
              <a:ext uri="{FF2B5EF4-FFF2-40B4-BE49-F238E27FC236}">
                <a16:creationId xmlns:a16="http://schemas.microsoft.com/office/drawing/2014/main" id="{9154AC43-53DF-32B1-0FAA-3821E36D6173}"/>
              </a:ext>
            </a:extLst>
          </p:cNvPr>
          <p:cNvSpPr>
            <a:spLocks noGrp="1"/>
          </p:cNvSpPr>
          <p:nvPr>
            <p:ph type="title"/>
          </p:nvPr>
        </p:nvSpPr>
        <p:spPr>
          <a:xfrm>
            <a:off x="218360" y="166509"/>
            <a:ext cx="11790138" cy="706311"/>
          </a:xfrm>
          <a:gradFill flip="none" rotWithShape="1">
            <a:gsLst>
              <a:gs pos="0">
                <a:schemeClr val="tx2"/>
              </a:gs>
              <a:gs pos="100000">
                <a:schemeClr val="accent6"/>
              </a:gs>
            </a:gsLst>
            <a:lin ang="10800000" scaled="1"/>
            <a:tileRect/>
          </a:gradFill>
          <a:ln>
            <a:noFill/>
          </a:ln>
          <a:extLst>
            <a:ext uri="{91240B29-F687-4F45-9708-019B960494DF}">
              <a14:hiddenLine xmlns:a14="http://schemas.microsoft.com/office/drawing/2010/main" w="9525">
                <a:solidFill>
                  <a:schemeClr val="tx1"/>
                </a:solidFill>
                <a:miter lim="800000"/>
                <a:headEnd/>
                <a:tailEnd/>
              </a14:hiddenLine>
            </a:ext>
          </a:extLst>
        </p:spPr>
        <p:txBody>
          <a:bodyPr vert="horz" wrap="square" lIns="180000" tIns="108000" rIns="180000" bIns="180000" numCol="1" anchor="t" anchorCtr="0" compatLnSpc="1">
            <a:prstTxWarp prst="textNoShape">
              <a:avLst/>
            </a:prstTxWarp>
            <a:noAutofit/>
          </a:bodyPr>
          <a:lstStyle/>
          <a:p>
            <a:r>
              <a:rPr lang="en-GB" dirty="0">
                <a:solidFill>
                  <a:schemeClr val="bg1"/>
                </a:solidFill>
              </a:rPr>
              <a:t>Case Example: </a:t>
            </a:r>
            <a:r>
              <a:rPr lang="en-GB" dirty="0" err="1">
                <a:solidFill>
                  <a:schemeClr val="bg1"/>
                </a:solidFill>
              </a:rPr>
              <a:t>Limberg</a:t>
            </a:r>
            <a:r>
              <a:rPr lang="en-GB" dirty="0">
                <a:solidFill>
                  <a:schemeClr val="bg1"/>
                </a:solidFill>
              </a:rPr>
              <a:t> III Pumped Storage Power Plant</a:t>
            </a:r>
          </a:p>
        </p:txBody>
      </p:sp>
      <p:sp>
        <p:nvSpPr>
          <p:cNvPr id="29" name="Text Box 16"/>
          <p:cNvSpPr txBox="1">
            <a:spLocks noChangeArrowheads="1"/>
          </p:cNvSpPr>
          <p:nvPr/>
        </p:nvSpPr>
        <p:spPr bwMode="auto">
          <a:xfrm>
            <a:off x="494602" y="1143013"/>
            <a:ext cx="6997880" cy="2200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lnSpc>
                <a:spcPts val="2000"/>
              </a:lnSpc>
              <a:buClr>
                <a:srgbClr val="00488E"/>
              </a:buClr>
              <a:buChar char="•"/>
              <a:defRPr sz="1500">
                <a:solidFill>
                  <a:schemeClr val="tx1"/>
                </a:solidFill>
                <a:latin typeface="Arial" charset="0"/>
                <a:ea typeface="MS PGothic" pitchFamily="34" charset="-128"/>
              </a:defRPr>
            </a:lvl1pPr>
            <a:lvl2pPr marL="742950" indent="-285750" eaLnBrk="0" hangingPunct="0">
              <a:lnSpc>
                <a:spcPts val="2000"/>
              </a:lnSpc>
              <a:buChar char="•"/>
              <a:defRPr sz="1500">
                <a:solidFill>
                  <a:schemeClr val="tx1"/>
                </a:solidFill>
                <a:latin typeface="Arial" charset="0"/>
                <a:ea typeface="MS PGothic" pitchFamily="34" charset="-128"/>
              </a:defRPr>
            </a:lvl2pPr>
            <a:lvl3pPr marL="1143000" indent="-228600" eaLnBrk="0" hangingPunct="0">
              <a:lnSpc>
                <a:spcPts val="2000"/>
              </a:lnSpc>
              <a:buChar char="•"/>
              <a:defRPr sz="1500">
                <a:solidFill>
                  <a:schemeClr val="tx1"/>
                </a:solidFill>
                <a:latin typeface="Arial" charset="0"/>
                <a:ea typeface="MS PGothic" pitchFamily="34" charset="-128"/>
              </a:defRPr>
            </a:lvl3pPr>
            <a:lvl4pPr marL="1600200" indent="-228600" eaLnBrk="0" hangingPunct="0">
              <a:lnSpc>
                <a:spcPts val="1500"/>
              </a:lnSpc>
              <a:buChar char="–"/>
              <a:defRPr sz="1000">
                <a:solidFill>
                  <a:schemeClr val="bg2"/>
                </a:solidFill>
                <a:latin typeface="Arial" charset="0"/>
                <a:ea typeface="MS PGothic" pitchFamily="34" charset="-128"/>
              </a:defRPr>
            </a:lvl4pPr>
            <a:lvl5pPr marL="2057400" indent="-228600" eaLnBrk="0" hangingPunct="0">
              <a:lnSpc>
                <a:spcPts val="1500"/>
              </a:lnSpc>
              <a:buChar char="»"/>
              <a:defRPr sz="1000">
                <a:solidFill>
                  <a:schemeClr val="bg2"/>
                </a:solidFill>
                <a:latin typeface="Arial" charset="0"/>
                <a:ea typeface="MS PGothic" pitchFamily="34" charset="-128"/>
              </a:defRPr>
            </a:lvl5pPr>
            <a:lvl6pPr marL="25146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6pPr>
            <a:lvl7pPr marL="29718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7pPr>
            <a:lvl8pPr marL="34290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8pPr>
            <a:lvl9pPr marL="3886200" indent="-228600" eaLnBrk="0" fontAlgn="base" hangingPunct="0">
              <a:lnSpc>
                <a:spcPts val="1500"/>
              </a:lnSpc>
              <a:spcBef>
                <a:spcPct val="0"/>
              </a:spcBef>
              <a:spcAft>
                <a:spcPct val="0"/>
              </a:spcAft>
              <a:buChar char="»"/>
              <a:defRPr sz="1000">
                <a:solidFill>
                  <a:schemeClr val="bg2"/>
                </a:solidFill>
                <a:latin typeface="Arial" charset="0"/>
                <a:ea typeface="MS PGothic" pitchFamily="34" charset="-128"/>
              </a:defRPr>
            </a:lvl9pPr>
          </a:lstStyle>
          <a:p>
            <a:pPr marL="285750" marR="0" lvl="0"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charset="0"/>
                <a:ea typeface="MS PGothic" pitchFamily="34" charset="-128"/>
                <a:cs typeface="+mn-cs"/>
              </a:rPr>
              <a:t>Extension of the Kaprun power plant group</a:t>
            </a:r>
          </a:p>
          <a:p>
            <a:pPr marL="285750" marR="0" lvl="0"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charset="0"/>
                <a:ea typeface="MS PGothic" pitchFamily="34" charset="-128"/>
                <a:cs typeface="+mn-cs"/>
              </a:rPr>
              <a:t>Additional hydraulic connection of the two existing annual reservoirs </a:t>
            </a:r>
            <a:r>
              <a:rPr kumimoji="0" lang="en-US" sz="1400" b="0" i="0" u="none" strike="noStrike" kern="0" cap="none" spc="0" normalizeH="0" baseline="0" noProof="0" dirty="0" err="1">
                <a:ln>
                  <a:noFill/>
                </a:ln>
                <a:solidFill>
                  <a:srgbClr val="000000"/>
                </a:solidFill>
                <a:effectLst/>
                <a:uLnTx/>
                <a:uFillTx/>
                <a:latin typeface="Arial" charset="0"/>
                <a:ea typeface="MS PGothic" pitchFamily="34" charset="-128"/>
                <a:cs typeface="+mn-cs"/>
              </a:rPr>
              <a:t>Mooserboden</a:t>
            </a:r>
            <a:r>
              <a:rPr kumimoji="0" lang="en-US" sz="1400" b="0" i="0" u="none" strike="noStrike" kern="0" cap="none" spc="0" normalizeH="0" baseline="0" noProof="0" dirty="0">
                <a:ln>
                  <a:noFill/>
                </a:ln>
                <a:solidFill>
                  <a:srgbClr val="000000"/>
                </a:solidFill>
                <a:effectLst/>
                <a:uLnTx/>
                <a:uFillTx/>
                <a:latin typeface="Arial" charset="0"/>
                <a:ea typeface="MS PGothic" pitchFamily="34" charset="-128"/>
                <a:cs typeface="+mn-cs"/>
              </a:rPr>
              <a:t> (84.9 million m³) and </a:t>
            </a:r>
            <a:r>
              <a:rPr kumimoji="0" lang="en-US" sz="1400" b="0" i="0" u="none" strike="noStrike" kern="0" cap="none" spc="0" normalizeH="0" baseline="0" noProof="0" dirty="0" err="1">
                <a:ln>
                  <a:noFill/>
                </a:ln>
                <a:solidFill>
                  <a:srgbClr val="000000"/>
                </a:solidFill>
                <a:effectLst/>
                <a:uLnTx/>
                <a:uFillTx/>
                <a:latin typeface="Arial" charset="0"/>
                <a:ea typeface="MS PGothic" pitchFamily="34" charset="-128"/>
                <a:cs typeface="+mn-cs"/>
              </a:rPr>
              <a:t>Wasserfallboden</a:t>
            </a:r>
            <a:r>
              <a:rPr kumimoji="0" lang="en-US" sz="1400" b="0" i="0" u="none" strike="noStrike" kern="0" cap="none" spc="0" normalizeH="0" baseline="0" noProof="0" dirty="0">
                <a:ln>
                  <a:noFill/>
                </a:ln>
                <a:solidFill>
                  <a:srgbClr val="000000"/>
                </a:solidFill>
                <a:effectLst/>
                <a:uLnTx/>
                <a:uFillTx/>
                <a:latin typeface="Arial" charset="0"/>
                <a:ea typeface="MS PGothic" pitchFamily="34" charset="-128"/>
                <a:cs typeface="+mn-cs"/>
              </a:rPr>
              <a:t> (81.2 million m³)</a:t>
            </a:r>
          </a:p>
          <a:p>
            <a:pPr marL="285750" marR="0" lvl="0"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charset="0"/>
                <a:ea typeface="MS PGothic" pitchFamily="34" charset="-128"/>
                <a:cs typeface="+mn-cs"/>
              </a:rPr>
              <a:t>Cavern power plant with 480 MW flexibility capacity</a:t>
            </a:r>
          </a:p>
          <a:p>
            <a:pPr marL="285750" marR="0" lvl="0"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charset="0"/>
                <a:ea typeface="MS PGothic" pitchFamily="34" charset="-128"/>
                <a:cs typeface="+mn-cs"/>
              </a:rPr>
              <a:t>Dam heightening to increase storage volume</a:t>
            </a:r>
          </a:p>
          <a:p>
            <a:pPr marL="285750" marR="0" lvl="0"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charset="0"/>
                <a:ea typeface="MS PGothic" pitchFamily="34" charset="-128"/>
                <a:cs typeface="+mn-cs"/>
              </a:rPr>
              <a:t>Comprehensive ecological measures</a:t>
            </a:r>
            <a:r>
              <a:rPr kumimoji="0" lang="en-US" sz="1400" b="0" i="0" u="none" strike="noStrike" kern="0" cap="none" spc="0" normalizeH="0" baseline="0" noProof="0" dirty="0">
                <a:ln>
                  <a:noFill/>
                </a:ln>
                <a:solidFill>
                  <a:srgbClr val="000000"/>
                </a:solidFill>
                <a:effectLst/>
                <a:uLnTx/>
                <a:uFillTx/>
                <a:latin typeface="Arial" charset="0"/>
                <a:ea typeface="MS PGothic" pitchFamily="34" charset="-128"/>
                <a:cs typeface="+mn-cs"/>
              </a:rPr>
              <a:t>: Designation of Natura 2000 area "Alpine alluvial land </a:t>
            </a:r>
            <a:r>
              <a:rPr kumimoji="0" lang="en-US" sz="1400" b="0" i="0" u="none" strike="noStrike" kern="0" cap="none" spc="0" normalizeH="0" baseline="0" noProof="0" dirty="0" err="1">
                <a:ln>
                  <a:noFill/>
                </a:ln>
                <a:solidFill>
                  <a:srgbClr val="000000"/>
                </a:solidFill>
                <a:effectLst/>
                <a:uLnTx/>
                <a:uFillTx/>
                <a:latin typeface="Arial" charset="0"/>
                <a:ea typeface="MS PGothic" pitchFamily="34" charset="-128"/>
                <a:cs typeface="+mn-cs"/>
              </a:rPr>
              <a:t>Drossen</a:t>
            </a:r>
            <a:r>
              <a:rPr kumimoji="0" lang="en-US" sz="1400" b="0" i="0" u="none" strike="noStrike" kern="0" cap="none" spc="0" normalizeH="0" baseline="0" noProof="0" dirty="0">
                <a:ln>
                  <a:noFill/>
                </a:ln>
                <a:solidFill>
                  <a:srgbClr val="000000"/>
                </a:solidFill>
                <a:effectLst/>
                <a:uLnTx/>
                <a:uFillTx/>
                <a:latin typeface="Arial" charset="0"/>
                <a:ea typeface="MS PGothic" pitchFamily="34" charset="-128"/>
                <a:cs typeface="+mn-cs"/>
              </a:rPr>
              <a:t>", recultivation of heaps from the 1950s</a:t>
            </a:r>
          </a:p>
          <a:p>
            <a:pPr marL="285750" marR="0" lvl="0" indent="-285750" algn="l" defTabSz="121917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0" cap="none" spc="0" normalizeH="0" baseline="0" noProof="0" dirty="0">
                <a:ln>
                  <a:noFill/>
                </a:ln>
                <a:solidFill>
                  <a:srgbClr val="000000"/>
                </a:solidFill>
                <a:effectLst/>
                <a:uLnTx/>
                <a:uFillTx/>
                <a:latin typeface="Arial" charset="0"/>
                <a:ea typeface="MS PGothic" pitchFamily="34" charset="-128"/>
                <a:cs typeface="+mn-cs"/>
              </a:rPr>
              <a:t>Investment of approximately 570 million Euros</a:t>
            </a:r>
            <a:endParaRPr kumimoji="0" lang="de-AT" sz="1400" b="1" i="0" u="none" strike="noStrike" kern="0" cap="none" spc="0" normalizeH="0" baseline="0" noProof="0" dirty="0">
              <a:ln>
                <a:noFill/>
              </a:ln>
              <a:solidFill>
                <a:srgbClr val="000000"/>
              </a:solidFill>
              <a:effectLst/>
              <a:uLnTx/>
              <a:uFillTx/>
              <a:latin typeface="Arial" charset="0"/>
              <a:ea typeface="MS PGothic" pitchFamily="34" charset="-128"/>
              <a:cs typeface="+mn-cs"/>
            </a:endParaRPr>
          </a:p>
        </p:txBody>
      </p:sp>
      <p:graphicFrame>
        <p:nvGraphicFramePr>
          <p:cNvPr id="14" name="Tabelle 13"/>
          <p:cNvGraphicFramePr>
            <a:graphicFrameLocks noGrp="1"/>
          </p:cNvGraphicFramePr>
          <p:nvPr>
            <p:extLst>
              <p:ext uri="{D42A27DB-BD31-4B8C-83A1-F6EECF244321}">
                <p14:modId xmlns:p14="http://schemas.microsoft.com/office/powerpoint/2010/main" val="3131173996"/>
              </p:ext>
            </p:extLst>
          </p:nvPr>
        </p:nvGraphicFramePr>
        <p:xfrm>
          <a:off x="801088" y="3595245"/>
          <a:ext cx="4517361" cy="2647689"/>
        </p:xfrm>
        <a:graphic>
          <a:graphicData uri="http://schemas.openxmlformats.org/drawingml/2006/table">
            <a:tbl>
              <a:tblPr firstRow="1" bandRow="1">
                <a:tableStyleId>{5C22544A-7EE6-4342-B048-85BDC9FD1C3A}</a:tableStyleId>
              </a:tblPr>
              <a:tblGrid>
                <a:gridCol w="2185781">
                  <a:extLst>
                    <a:ext uri="{9D8B030D-6E8A-4147-A177-3AD203B41FA5}">
                      <a16:colId xmlns:a16="http://schemas.microsoft.com/office/drawing/2014/main" val="20000"/>
                    </a:ext>
                  </a:extLst>
                </a:gridCol>
                <a:gridCol w="2331580">
                  <a:extLst>
                    <a:ext uri="{9D8B030D-6E8A-4147-A177-3AD203B41FA5}">
                      <a16:colId xmlns:a16="http://schemas.microsoft.com/office/drawing/2014/main" val="20001"/>
                    </a:ext>
                  </a:extLst>
                </a:gridCol>
              </a:tblGrid>
              <a:tr h="189210">
                <a:tc gridSpan="2">
                  <a:txBody>
                    <a:bodyPr/>
                    <a:lstStyle/>
                    <a:p>
                      <a:pPr marL="0" marR="0" lvl="0" indent="0" algn="l" defTabSz="914400" rtl="0" eaLnBrk="1" fontAlgn="base" latinLnBrk="0" hangingPunct="1">
                        <a:lnSpc>
                          <a:spcPct val="100000"/>
                        </a:lnSpc>
                        <a:spcBef>
                          <a:spcPct val="0"/>
                        </a:spcBef>
                        <a:spcAft>
                          <a:spcPct val="0"/>
                        </a:spcAft>
                        <a:buClr>
                          <a:srgbClr val="00488E"/>
                        </a:buClr>
                        <a:buSzTx/>
                        <a:buFontTx/>
                        <a:buNone/>
                        <a:tabLst/>
                      </a:pPr>
                      <a:r>
                        <a:rPr kumimoji="0" lang="en-GB" sz="1200" b="1" i="0" u="none" strike="noStrike" kern="1200" cap="none" normalizeH="0" baseline="0" noProof="0" dirty="0">
                          <a:ln>
                            <a:noFill/>
                          </a:ln>
                          <a:solidFill>
                            <a:schemeClr val="bg1"/>
                          </a:solidFill>
                          <a:effectLst/>
                          <a:latin typeface="+mn-lt"/>
                          <a:ea typeface="ＭＳ Ｐゴシック" pitchFamily="34" charset="-128"/>
                          <a:cs typeface="+mn-cs"/>
                        </a:rPr>
                        <a:t>Technical Data </a:t>
                      </a:r>
                      <a:r>
                        <a:rPr kumimoji="0" lang="en-GB" sz="1200" b="1" i="0" u="none" strike="noStrike" kern="1200" cap="none" normalizeH="0" baseline="0" noProof="0" dirty="0" err="1">
                          <a:ln>
                            <a:noFill/>
                          </a:ln>
                          <a:solidFill>
                            <a:schemeClr val="bg1"/>
                          </a:solidFill>
                          <a:effectLst/>
                          <a:latin typeface="+mn-lt"/>
                          <a:ea typeface="ＭＳ Ｐゴシック" pitchFamily="34" charset="-128"/>
                          <a:cs typeface="+mn-cs"/>
                        </a:rPr>
                        <a:t>Limberg</a:t>
                      </a:r>
                      <a:r>
                        <a:rPr kumimoji="0" lang="en-GB" sz="1200" b="1" i="0" u="none" strike="noStrike" kern="1200" cap="none" normalizeH="0" baseline="0" noProof="0" dirty="0">
                          <a:ln>
                            <a:noFill/>
                          </a:ln>
                          <a:solidFill>
                            <a:schemeClr val="bg1"/>
                          </a:solidFill>
                          <a:effectLst/>
                          <a:latin typeface="+mn-lt"/>
                          <a:ea typeface="ＭＳ Ｐゴシック" pitchFamily="34" charset="-128"/>
                          <a:cs typeface="+mn-cs"/>
                        </a:rPr>
                        <a:t> III</a:t>
                      </a:r>
                    </a:p>
                  </a:txBody>
                  <a:tcPr anchor="ctr">
                    <a:solidFill>
                      <a:schemeClr val="tx2"/>
                    </a:solidFill>
                  </a:tcPr>
                </a:tc>
                <a:tc hMerge="1">
                  <a:txBody>
                    <a:bodyPr/>
                    <a:lstStyle/>
                    <a:p>
                      <a:pPr algn="ctr"/>
                      <a:endParaRPr lang="de-DE" sz="1200" dirty="0"/>
                    </a:p>
                  </a:txBody>
                  <a:tcPr anchor="ctr">
                    <a:solidFill>
                      <a:srgbClr val="40868C"/>
                    </a:solidFill>
                  </a:tcPr>
                </a:tc>
                <a:extLst>
                  <a:ext uri="{0D108BD9-81ED-4DB2-BD59-A6C34878D82A}">
                    <a16:rowId xmlns:a16="http://schemas.microsoft.com/office/drawing/2014/main" val="10000"/>
                  </a:ext>
                </a:extLst>
              </a:tr>
              <a:tr h="549593">
                <a:tc>
                  <a:txBody>
                    <a:bodyPr/>
                    <a:lstStyle/>
                    <a:p>
                      <a:pPr marL="0" marR="0" lvl="0" indent="0" algn="l" defTabSz="968375" rtl="0" eaLnBrk="1" fontAlgn="base" latinLnBrk="0" hangingPunct="1">
                        <a:lnSpc>
                          <a:spcPct val="100000"/>
                        </a:lnSpc>
                        <a:spcBef>
                          <a:spcPct val="0"/>
                        </a:spcBef>
                        <a:spcAft>
                          <a:spcPct val="0"/>
                        </a:spcAft>
                        <a:buClr>
                          <a:srgbClr val="00488E"/>
                        </a:buClr>
                        <a:buSzTx/>
                        <a:buFontTx/>
                        <a:buNone/>
                        <a:tabLst/>
                      </a:pPr>
                      <a:r>
                        <a:rPr kumimoji="0" lang="en-GB" sz="1200" b="0" i="0" u="none" strike="noStrike" cap="none" normalizeH="0" baseline="0" noProof="0" dirty="0">
                          <a:ln>
                            <a:noFill/>
                          </a:ln>
                          <a:solidFill>
                            <a:srgbClr val="000000"/>
                          </a:solidFill>
                          <a:effectLst/>
                          <a:latin typeface="+mn-lt"/>
                          <a:ea typeface="ＭＳ Ｐゴシック" charset="-128"/>
                        </a:rPr>
                        <a:t>reversible pump turbine </a:t>
                      </a:r>
                      <a:br>
                        <a:rPr kumimoji="0" lang="en-GB" sz="1200" b="0" i="0" u="none" strike="noStrike" cap="none" normalizeH="0" baseline="0" noProof="0" dirty="0">
                          <a:ln>
                            <a:noFill/>
                          </a:ln>
                          <a:solidFill>
                            <a:srgbClr val="000000"/>
                          </a:solidFill>
                          <a:effectLst/>
                          <a:latin typeface="+mn-lt"/>
                          <a:ea typeface="ＭＳ Ｐゴシック" charset="-128"/>
                        </a:rPr>
                      </a:br>
                      <a:r>
                        <a:rPr kumimoji="0" lang="en-GB" sz="1200" b="0" i="0" u="none" strike="noStrike" cap="none" normalizeH="0" baseline="0" noProof="0" dirty="0">
                          <a:ln>
                            <a:noFill/>
                          </a:ln>
                          <a:solidFill>
                            <a:srgbClr val="000000"/>
                          </a:solidFill>
                          <a:effectLst/>
                          <a:latin typeface="+mn-lt"/>
                          <a:ea typeface="ＭＳ Ｐゴシック" charset="-128"/>
                        </a:rPr>
                        <a:t>(variable speed)</a:t>
                      </a:r>
                    </a:p>
                  </a:txBody>
                  <a:tcPr marL="86373" marR="86373" marT="43208" marB="43208" anchor="ctr" horzOverflow="overflow"/>
                </a:tc>
                <a:tc>
                  <a:txBody>
                    <a:bodyPr/>
                    <a:lstStyle/>
                    <a:p>
                      <a:pPr algn="ctr">
                        <a:lnSpc>
                          <a:spcPct val="100000"/>
                        </a:lnSpc>
                      </a:pPr>
                      <a:r>
                        <a:rPr lang="en-GB" sz="1200" noProof="0" dirty="0">
                          <a:solidFill>
                            <a:srgbClr val="000000"/>
                          </a:solidFill>
                          <a:latin typeface="+mn-lt"/>
                        </a:rPr>
                        <a:t>2 x 240 MW </a:t>
                      </a:r>
                      <a:br>
                        <a:rPr lang="en-GB" sz="1200" noProof="0" dirty="0">
                          <a:solidFill>
                            <a:srgbClr val="000000"/>
                          </a:solidFill>
                          <a:latin typeface="+mn-lt"/>
                        </a:rPr>
                      </a:br>
                      <a:r>
                        <a:rPr lang="en-GB" sz="1200" noProof="0" dirty="0">
                          <a:solidFill>
                            <a:srgbClr val="000000"/>
                          </a:solidFill>
                          <a:latin typeface="+mn-lt"/>
                        </a:rPr>
                        <a:t>(2 x 100 bis 240 MW)</a:t>
                      </a:r>
                    </a:p>
                  </a:txBody>
                  <a:tcPr anchor="ctr"/>
                </a:tc>
                <a:extLst>
                  <a:ext uri="{0D108BD9-81ED-4DB2-BD59-A6C34878D82A}">
                    <a16:rowId xmlns:a16="http://schemas.microsoft.com/office/drawing/2014/main" val="10001"/>
                  </a:ext>
                </a:extLst>
              </a:tr>
              <a:tr h="0">
                <a:tc>
                  <a:txBody>
                    <a:bodyPr/>
                    <a:lstStyle/>
                    <a:p>
                      <a:pPr marL="0" marR="0" lvl="0" indent="0" algn="l" defTabSz="968375" rtl="0" eaLnBrk="1" fontAlgn="base" latinLnBrk="0" hangingPunct="1">
                        <a:lnSpc>
                          <a:spcPct val="100000"/>
                        </a:lnSpc>
                        <a:spcBef>
                          <a:spcPct val="0"/>
                        </a:spcBef>
                        <a:spcAft>
                          <a:spcPct val="0"/>
                        </a:spcAft>
                        <a:buClr>
                          <a:srgbClr val="00488E"/>
                        </a:buClr>
                        <a:buSzTx/>
                        <a:buFontTx/>
                        <a:buNone/>
                        <a:tabLst/>
                      </a:pPr>
                      <a:r>
                        <a:rPr kumimoji="0" lang="en-GB" sz="1200" b="0" i="0" u="none" strike="noStrike" cap="none" normalizeH="0" baseline="0" noProof="0" dirty="0">
                          <a:ln>
                            <a:noFill/>
                          </a:ln>
                          <a:solidFill>
                            <a:srgbClr val="000000"/>
                          </a:solidFill>
                          <a:effectLst/>
                          <a:latin typeface="+mn-lt"/>
                          <a:ea typeface="ＭＳ Ｐゴシック" charset="-128"/>
                        </a:rPr>
                        <a:t>Total max. discharge</a:t>
                      </a:r>
                    </a:p>
                  </a:txBody>
                  <a:tcPr marL="86373" marR="86373" marT="43208" marB="43208" anchor="ctr" horzOverflow="overflow"/>
                </a:tc>
                <a:tc>
                  <a:txBody>
                    <a:bodyPr/>
                    <a:lstStyle/>
                    <a:p>
                      <a:pPr algn="ctr">
                        <a:lnSpc>
                          <a:spcPct val="100000"/>
                        </a:lnSpc>
                      </a:pPr>
                      <a:r>
                        <a:rPr lang="en-GB" sz="1200" noProof="0" dirty="0">
                          <a:solidFill>
                            <a:srgbClr val="000000"/>
                          </a:solidFill>
                          <a:latin typeface="+mn-lt"/>
                        </a:rPr>
                        <a:t>2 x 72 m</a:t>
                      </a:r>
                      <a:r>
                        <a:rPr lang="en-GB" sz="1200" baseline="30000" noProof="0" dirty="0">
                          <a:solidFill>
                            <a:srgbClr val="000000"/>
                          </a:solidFill>
                          <a:latin typeface="+mn-lt"/>
                        </a:rPr>
                        <a:t>3</a:t>
                      </a:r>
                      <a:r>
                        <a:rPr lang="en-GB" sz="1200" baseline="0" noProof="0" dirty="0">
                          <a:solidFill>
                            <a:srgbClr val="000000"/>
                          </a:solidFill>
                          <a:latin typeface="+mn-lt"/>
                        </a:rPr>
                        <a:t>/s</a:t>
                      </a:r>
                    </a:p>
                  </a:txBody>
                  <a:tcPr anchor="ctr"/>
                </a:tc>
                <a:extLst>
                  <a:ext uri="{0D108BD9-81ED-4DB2-BD59-A6C34878D82A}">
                    <a16:rowId xmlns:a16="http://schemas.microsoft.com/office/drawing/2014/main" val="10002"/>
                  </a:ext>
                </a:extLst>
              </a:tr>
              <a:tr h="128679">
                <a:tc>
                  <a:txBody>
                    <a:bodyPr/>
                    <a:lstStyle/>
                    <a:p>
                      <a:pPr marL="0" marR="0" lvl="0" indent="0" algn="l" defTabSz="968375" rtl="0" eaLnBrk="1" fontAlgn="base" latinLnBrk="0" hangingPunct="1">
                        <a:lnSpc>
                          <a:spcPct val="100000"/>
                        </a:lnSpc>
                        <a:spcBef>
                          <a:spcPct val="0"/>
                        </a:spcBef>
                        <a:spcAft>
                          <a:spcPct val="0"/>
                        </a:spcAft>
                        <a:buClr>
                          <a:srgbClr val="00488E"/>
                        </a:buClr>
                        <a:buSzTx/>
                        <a:buFontTx/>
                        <a:buNone/>
                        <a:tabLst/>
                        <a:defRPr/>
                      </a:pPr>
                      <a:r>
                        <a:rPr kumimoji="0" lang="en-GB" sz="1200" b="0" i="0" u="none" strike="noStrike" kern="1200" cap="none" normalizeH="0" baseline="0" noProof="0" dirty="0">
                          <a:ln>
                            <a:noFill/>
                          </a:ln>
                          <a:solidFill>
                            <a:srgbClr val="000000"/>
                          </a:solidFill>
                          <a:effectLst/>
                          <a:latin typeface="+mn-lt"/>
                          <a:ea typeface="ＭＳ Ｐゴシック" charset="-128"/>
                          <a:cs typeface="+mn-cs"/>
                        </a:rPr>
                        <a:t>Hydraulic head</a:t>
                      </a:r>
                    </a:p>
                  </a:txBody>
                  <a:tcPr marL="86373" marR="86373" marT="43208" marB="43208" anchor="ctr" horzOverflow="overflow"/>
                </a:tc>
                <a:tc>
                  <a:txBody>
                    <a:bodyPr/>
                    <a:lstStyle/>
                    <a:p>
                      <a:pPr algn="ctr">
                        <a:lnSpc>
                          <a:spcPct val="100000"/>
                        </a:lnSpc>
                      </a:pPr>
                      <a:r>
                        <a:rPr lang="en-GB" sz="1200" b="0" noProof="0" dirty="0">
                          <a:solidFill>
                            <a:srgbClr val="000000"/>
                          </a:solidFill>
                          <a:latin typeface="+mn-lt"/>
                        </a:rPr>
                        <a:t>365 m</a:t>
                      </a:r>
                    </a:p>
                  </a:txBody>
                  <a:tcPr anchor="ctr"/>
                </a:tc>
                <a:extLst>
                  <a:ext uri="{0D108BD9-81ED-4DB2-BD59-A6C34878D82A}">
                    <a16:rowId xmlns:a16="http://schemas.microsoft.com/office/drawing/2014/main" val="2406248507"/>
                  </a:ext>
                </a:extLst>
              </a:tr>
              <a:tr h="128679">
                <a:tc>
                  <a:txBody>
                    <a:bodyPr/>
                    <a:lstStyle/>
                    <a:p>
                      <a:pPr marL="0" marR="0" lvl="0" indent="0" algn="l" defTabSz="968375" rtl="0" eaLnBrk="1" fontAlgn="base" latinLnBrk="0" hangingPunct="1">
                        <a:lnSpc>
                          <a:spcPct val="100000"/>
                        </a:lnSpc>
                        <a:spcBef>
                          <a:spcPct val="0"/>
                        </a:spcBef>
                        <a:spcAft>
                          <a:spcPct val="0"/>
                        </a:spcAft>
                        <a:buClr>
                          <a:srgbClr val="00488E"/>
                        </a:buClr>
                        <a:buSzTx/>
                        <a:buFontTx/>
                        <a:buNone/>
                        <a:tabLst/>
                        <a:defRPr/>
                      </a:pPr>
                      <a:r>
                        <a:rPr kumimoji="0" lang="en-GB" sz="1200" b="0" i="0" u="none" strike="noStrike" kern="1200" cap="none" normalizeH="0" baseline="0" noProof="0" dirty="0">
                          <a:ln>
                            <a:noFill/>
                          </a:ln>
                          <a:solidFill>
                            <a:srgbClr val="000000"/>
                          </a:solidFill>
                          <a:effectLst/>
                          <a:latin typeface="+mn-lt"/>
                          <a:ea typeface="ＭＳ Ｐゴシック" charset="-128"/>
                          <a:cs typeface="+mn-cs"/>
                        </a:rPr>
                        <a:t>Length of power water ways</a:t>
                      </a:r>
                    </a:p>
                  </a:txBody>
                  <a:tcPr marL="86373" marR="86373" marT="43208" marB="43208" anchor="ctr" horzOverflow="overflow"/>
                </a:tc>
                <a:tc>
                  <a:txBody>
                    <a:bodyPr/>
                    <a:lstStyle/>
                    <a:p>
                      <a:pPr algn="ctr">
                        <a:lnSpc>
                          <a:spcPct val="100000"/>
                        </a:lnSpc>
                      </a:pPr>
                      <a:r>
                        <a:rPr lang="en-GB" sz="1200" b="0" noProof="0" dirty="0">
                          <a:solidFill>
                            <a:srgbClr val="000000"/>
                          </a:solidFill>
                          <a:latin typeface="+mn-lt"/>
                        </a:rPr>
                        <a:t>5,4 km</a:t>
                      </a:r>
                    </a:p>
                  </a:txBody>
                  <a:tcPr anchor="ctr"/>
                </a:tc>
                <a:extLst>
                  <a:ext uri="{0D108BD9-81ED-4DB2-BD59-A6C34878D82A}">
                    <a16:rowId xmlns:a16="http://schemas.microsoft.com/office/drawing/2014/main" val="1944091978"/>
                  </a:ext>
                </a:extLst>
              </a:tr>
              <a:tr h="128679">
                <a:tc>
                  <a:txBody>
                    <a:bodyPr/>
                    <a:lstStyle/>
                    <a:p>
                      <a:pPr marL="0" marR="0" lvl="0" indent="0" algn="l" defTabSz="968375" rtl="0" eaLnBrk="1" fontAlgn="base" latinLnBrk="0" hangingPunct="1">
                        <a:lnSpc>
                          <a:spcPct val="100000"/>
                        </a:lnSpc>
                        <a:spcBef>
                          <a:spcPct val="0"/>
                        </a:spcBef>
                        <a:spcAft>
                          <a:spcPct val="0"/>
                        </a:spcAft>
                        <a:buClr>
                          <a:srgbClr val="00488E"/>
                        </a:buClr>
                        <a:buSzTx/>
                        <a:buFontTx/>
                        <a:buNone/>
                        <a:tabLst/>
                        <a:defRPr/>
                      </a:pPr>
                      <a:r>
                        <a:rPr kumimoji="0" lang="en-GB" sz="1200" b="0" i="0" u="none" strike="noStrike" kern="1200" cap="none" normalizeH="0" baseline="0" noProof="0" dirty="0">
                          <a:ln>
                            <a:noFill/>
                          </a:ln>
                          <a:solidFill>
                            <a:srgbClr val="000000"/>
                          </a:solidFill>
                          <a:effectLst/>
                          <a:latin typeface="+mn-lt"/>
                          <a:ea typeface="ＭＳ Ｐゴシック" charset="-128"/>
                          <a:cs typeface="+mn-cs"/>
                        </a:rPr>
                        <a:t>Rise of dam crest of </a:t>
                      </a:r>
                      <a:r>
                        <a:rPr kumimoji="0" lang="en-GB" sz="1200" b="0" i="0" u="none" strike="noStrike" kern="1200" cap="none" normalizeH="0" baseline="0" noProof="0" dirty="0" err="1">
                          <a:ln>
                            <a:noFill/>
                          </a:ln>
                          <a:solidFill>
                            <a:srgbClr val="000000"/>
                          </a:solidFill>
                          <a:effectLst/>
                          <a:latin typeface="+mn-lt"/>
                          <a:ea typeface="ＭＳ Ｐゴシック" charset="-128"/>
                          <a:cs typeface="+mn-cs"/>
                        </a:rPr>
                        <a:t>Limberg</a:t>
                      </a:r>
                      <a:r>
                        <a:rPr kumimoji="0" lang="en-GB" sz="1200" b="0" i="0" u="none" strike="noStrike" kern="1200" cap="none" normalizeH="0" baseline="0" noProof="0" dirty="0">
                          <a:ln>
                            <a:noFill/>
                          </a:ln>
                          <a:solidFill>
                            <a:srgbClr val="000000"/>
                          </a:solidFill>
                          <a:effectLst/>
                          <a:latin typeface="+mn-lt"/>
                          <a:ea typeface="ＭＳ Ｐゴシック" charset="-128"/>
                          <a:cs typeface="+mn-cs"/>
                        </a:rPr>
                        <a:t> dam</a:t>
                      </a:r>
                    </a:p>
                  </a:txBody>
                  <a:tcPr marL="86373" marR="86373" marT="43208" marB="43208" anchor="ctr" horzOverflow="overflow"/>
                </a:tc>
                <a:tc>
                  <a:txBody>
                    <a:bodyPr/>
                    <a:lstStyle/>
                    <a:p>
                      <a:pPr algn="ctr">
                        <a:lnSpc>
                          <a:spcPct val="100000"/>
                        </a:lnSpc>
                      </a:pPr>
                      <a:r>
                        <a:rPr lang="en-GB" sz="1200" b="0" noProof="0" dirty="0">
                          <a:solidFill>
                            <a:srgbClr val="000000"/>
                          </a:solidFill>
                          <a:latin typeface="+mn-lt"/>
                        </a:rPr>
                        <a:t>+ 11 m</a:t>
                      </a:r>
                    </a:p>
                  </a:txBody>
                  <a:tcPr anchor="ctr"/>
                </a:tc>
                <a:extLst>
                  <a:ext uri="{0D108BD9-81ED-4DB2-BD59-A6C34878D82A}">
                    <a16:rowId xmlns:a16="http://schemas.microsoft.com/office/drawing/2014/main" val="3599817229"/>
                  </a:ext>
                </a:extLst>
              </a:tr>
              <a:tr h="128679">
                <a:tc>
                  <a:txBody>
                    <a:bodyPr/>
                    <a:lstStyle/>
                    <a:p>
                      <a:pPr marL="0" marR="0" lvl="0" indent="0" algn="l" defTabSz="968375" rtl="0" eaLnBrk="1" fontAlgn="base" latinLnBrk="0" hangingPunct="1">
                        <a:lnSpc>
                          <a:spcPct val="100000"/>
                        </a:lnSpc>
                        <a:spcBef>
                          <a:spcPct val="0"/>
                        </a:spcBef>
                        <a:spcAft>
                          <a:spcPct val="0"/>
                        </a:spcAft>
                        <a:buClr>
                          <a:srgbClr val="00488E"/>
                        </a:buClr>
                        <a:buSzTx/>
                        <a:buFontTx/>
                        <a:buNone/>
                        <a:tabLst/>
                        <a:defRPr/>
                      </a:pPr>
                      <a:r>
                        <a:rPr kumimoji="0" lang="en-GB" sz="1200" b="0" i="0" u="none" strike="noStrike" kern="1200" cap="none" normalizeH="0" baseline="0" noProof="0" dirty="0">
                          <a:ln>
                            <a:noFill/>
                          </a:ln>
                          <a:solidFill>
                            <a:srgbClr val="000000"/>
                          </a:solidFill>
                          <a:effectLst/>
                          <a:latin typeface="+mn-lt"/>
                          <a:ea typeface="ＭＳ Ｐゴシック" charset="-128"/>
                          <a:cs typeface="+mn-cs"/>
                        </a:rPr>
                        <a:t>Additional reservoir capacity</a:t>
                      </a:r>
                    </a:p>
                  </a:txBody>
                  <a:tcPr marL="86373" marR="86373" marT="43208" marB="43208" anchor="ctr" horzOverflow="overflow"/>
                </a:tc>
                <a:tc>
                  <a:txBody>
                    <a:bodyPr/>
                    <a:lstStyle/>
                    <a:p>
                      <a:pPr algn="ctr">
                        <a:lnSpc>
                          <a:spcPct val="100000"/>
                        </a:lnSpc>
                      </a:pPr>
                      <a:r>
                        <a:rPr lang="en-GB" sz="1200" b="0" noProof="0" dirty="0">
                          <a:solidFill>
                            <a:srgbClr val="000000"/>
                          </a:solidFill>
                          <a:latin typeface="+mn-lt"/>
                        </a:rPr>
                        <a:t>12,7 Mio. m</a:t>
                      </a:r>
                      <a:r>
                        <a:rPr lang="en-GB" sz="1200" b="0" baseline="30000" noProof="0" dirty="0">
                          <a:solidFill>
                            <a:srgbClr val="000000"/>
                          </a:solidFill>
                          <a:latin typeface="+mn-lt"/>
                        </a:rPr>
                        <a:t>3</a:t>
                      </a:r>
                      <a:r>
                        <a:rPr lang="en-GB" sz="1200" b="0" noProof="0" dirty="0">
                          <a:solidFill>
                            <a:srgbClr val="000000"/>
                          </a:solidFill>
                          <a:latin typeface="+mn-lt"/>
                        </a:rPr>
                        <a:t> </a:t>
                      </a:r>
                    </a:p>
                  </a:txBody>
                  <a:tcPr anchor="ctr"/>
                </a:tc>
                <a:extLst>
                  <a:ext uri="{0D108BD9-81ED-4DB2-BD59-A6C34878D82A}">
                    <a16:rowId xmlns:a16="http://schemas.microsoft.com/office/drawing/2014/main" val="3821196827"/>
                  </a:ext>
                </a:extLst>
              </a:tr>
              <a:tr h="128679">
                <a:tc>
                  <a:txBody>
                    <a:bodyPr/>
                    <a:lstStyle/>
                    <a:p>
                      <a:pPr marL="0" marR="0" lvl="0" indent="0" algn="l" defTabSz="968375" rtl="0" eaLnBrk="1" fontAlgn="base" latinLnBrk="0" hangingPunct="1">
                        <a:lnSpc>
                          <a:spcPct val="100000"/>
                        </a:lnSpc>
                        <a:spcBef>
                          <a:spcPct val="0"/>
                        </a:spcBef>
                        <a:spcAft>
                          <a:spcPct val="0"/>
                        </a:spcAft>
                        <a:buClr>
                          <a:srgbClr val="00488E"/>
                        </a:buClr>
                        <a:buSzTx/>
                        <a:buFontTx/>
                        <a:buNone/>
                        <a:tabLst/>
                        <a:defRPr/>
                      </a:pPr>
                      <a:r>
                        <a:rPr kumimoji="0" lang="en-GB" sz="1200" b="0" i="0" u="none" strike="noStrike" kern="1200" cap="none" normalizeH="0" baseline="0" noProof="0" dirty="0">
                          <a:ln>
                            <a:noFill/>
                          </a:ln>
                          <a:solidFill>
                            <a:srgbClr val="000000"/>
                          </a:solidFill>
                          <a:effectLst/>
                          <a:latin typeface="+mn-lt"/>
                          <a:ea typeface="ＭＳ Ｐゴシック" charset="-128"/>
                          <a:cs typeface="+mn-cs"/>
                        </a:rPr>
                        <a:t>Construction period</a:t>
                      </a:r>
                    </a:p>
                  </a:txBody>
                  <a:tcPr marL="86373" marR="86373" marT="43208" marB="43208" anchor="ctr" horzOverflow="overflow"/>
                </a:tc>
                <a:tc>
                  <a:txBody>
                    <a:bodyPr/>
                    <a:lstStyle/>
                    <a:p>
                      <a:pPr algn="ctr">
                        <a:lnSpc>
                          <a:spcPct val="100000"/>
                        </a:lnSpc>
                      </a:pPr>
                      <a:r>
                        <a:rPr lang="en-GB" sz="1200" b="0" noProof="0" dirty="0">
                          <a:solidFill>
                            <a:srgbClr val="000000"/>
                          </a:solidFill>
                          <a:latin typeface="+mn-lt"/>
                        </a:rPr>
                        <a:t>2021</a:t>
                      </a:r>
                      <a:r>
                        <a:rPr lang="en-GB" sz="1200" b="0" baseline="0" noProof="0" dirty="0">
                          <a:solidFill>
                            <a:srgbClr val="000000"/>
                          </a:solidFill>
                          <a:latin typeface="+mn-lt"/>
                        </a:rPr>
                        <a:t> - 2025</a:t>
                      </a:r>
                      <a:endParaRPr lang="en-GB" sz="1200" b="0" noProof="0" dirty="0">
                        <a:solidFill>
                          <a:srgbClr val="000000"/>
                        </a:solidFill>
                        <a:latin typeface="+mn-lt"/>
                      </a:endParaRPr>
                    </a:p>
                  </a:txBody>
                  <a:tcPr anchor="ctr"/>
                </a:tc>
                <a:extLst>
                  <a:ext uri="{0D108BD9-81ED-4DB2-BD59-A6C34878D82A}">
                    <a16:rowId xmlns:a16="http://schemas.microsoft.com/office/drawing/2014/main" val="1542588743"/>
                  </a:ext>
                </a:extLst>
              </a:tr>
            </a:tbl>
          </a:graphicData>
        </a:graphic>
      </p:graphicFrame>
      <p:pic>
        <p:nvPicPr>
          <p:cNvPr id="16" name="Grafik 15" descr="\\atibksfs002\dfs-projects\11094\5_WS\51_REP\UVE-Unterlagen\Visualisierung Erhöhung Limbergsperre\11094-VIS-02-Luftseite-Erhöhung-200522.jpg"/>
          <p:cNvPicPr/>
          <p:nvPr/>
        </p:nvPicPr>
        <p:blipFill rotWithShape="1">
          <a:blip r:embed="rId6" cstate="screen">
            <a:extLst>
              <a:ext uri="{28A0092B-C50C-407E-A947-70E740481C1C}">
                <a14:useLocalDpi xmlns:a14="http://schemas.microsoft.com/office/drawing/2010/main"/>
              </a:ext>
            </a:extLst>
          </a:blip>
          <a:srcRect l="-2"/>
          <a:stretch/>
        </p:blipFill>
        <p:spPr bwMode="auto">
          <a:xfrm>
            <a:off x="5489720" y="3595245"/>
            <a:ext cx="3116901" cy="2647689"/>
          </a:xfrm>
          <a:prstGeom prst="rect">
            <a:avLst/>
          </a:prstGeom>
          <a:noFill/>
          <a:ln>
            <a:noFill/>
          </a:ln>
          <a:effectLst>
            <a:outerShdw blurRad="50800" dist="38100" dir="2700000" algn="tl" rotWithShape="0">
              <a:prstClr val="black">
                <a:alpha val="40000"/>
              </a:prstClr>
            </a:outerShdw>
          </a:effectLst>
        </p:spPr>
      </p:pic>
      <p:pic>
        <p:nvPicPr>
          <p:cNvPr id="12" name="Grafik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136294" y="1162519"/>
            <a:ext cx="3307347" cy="467718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65076052"/>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Ah1JFu4ciBY0rUf95a7Nw"/>
</p:tagLst>
</file>

<file path=ppt/tags/tag132.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World Bank Region"/>
  <p:tag name="EE4P_MAPWIZARD" val="Austria\Europe\Europe\Western Europe\Europe &amp; Central Asia"/>
</p:tagLst>
</file>

<file path=ppt/tags/tag133.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World Bank Region"/>
  <p:tag name="EE4P_MAPWIZARD" val="Albania\Europe\Europe\Southern Europe\Europe &amp; Central Asia"/>
</p:tagLst>
</file>

<file path=ppt/tags/tag134.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Continent\UN Region\UN Sub Region\World Bank Region"/>
  <p:tag name="EE4P_MAPWIZARD" val="Andorra\Europe\Europe\Southern Europe\Europe &amp; Central Asia"/>
</p:tagLst>
</file>

<file path=ppt/tags/tag135.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World Bank Region"/>
  <p:tag name="EE4P_MAPWIZARD" val="Belgium\Europe\Europe\Western Europe\Europe &amp; Central Asia"/>
</p:tagLst>
</file>

<file path=ppt/tags/tag136.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World Bank Region"/>
  <p:tag name="EE4P_MAPWIZARD" val="Bulgaria\Europe\Europe\Eastern Europe\Europe &amp; Central Asia"/>
</p:tagLst>
</file>

<file path=ppt/tags/tag137.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World Bank Region"/>
  <p:tag name="EE4P_MAPWIZARD" val="Bosnia and Herzegovina\Europe\Europe\Southern Europe\Europe &amp; Central Asia"/>
</p:tagLst>
</file>

<file path=ppt/tags/tag138.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World Bank Region"/>
  <p:tag name="EE4P_MAPWIZARD" val="Belarus\Europe\Europe\Eastern Europe\Europe &amp; Central Asia"/>
</p:tagLst>
</file>

<file path=ppt/tags/tag139.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World Bank Region"/>
  <p:tag name="EE4P_MAPWIZARD" val="Switzerland\Europe\Europe\Western Europe\Europe &amp; Central As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World Bank Region"/>
  <p:tag name="EE4P_MAPWIZARD" val="Czech Republic\Europe\Europe\Eastern Europe\Europe &amp; Central Asia"/>
</p:tagLst>
</file>

<file path=ppt/tags/tag141.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World Bank Region"/>
  <p:tag name="EE4P_MAPWIZARD" val="Germany\Europe\Europe\Western Europe\Europe &amp; Central Asia"/>
</p:tagLst>
</file>

<file path=ppt/tags/tag142.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World Bank Region"/>
  <p:tag name="EE4P_MAPWIZARD" val="Denmark\Europe\Europe\Northern Europe\Europe &amp; Central Asia"/>
</p:tagLst>
</file>

<file path=ppt/tags/tag143.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World Bank Region"/>
  <p:tag name="EE4P_MAPWIZARD" val="Spain\Europe\Europe\Southern Europe\Europe &amp; Central Asia"/>
</p:tagLst>
</file>

<file path=ppt/tags/tag144.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World Bank Region"/>
  <p:tag name="EE4P_MAPWIZARD" val="Spain\Europe\Europe\Southern Europe\Europe &amp; Central Asia"/>
</p:tagLst>
</file>

<file path=ppt/tags/tag145.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World Bank Region"/>
  <p:tag name="EE4P_MAPWIZARD" val="Estonia\Europe\Europe\Northern Europe\Europe &amp; Central Asia"/>
</p:tagLst>
</file>

<file path=ppt/tags/tag146.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World Bank Region"/>
  <p:tag name="EE4P_MAPWIZARD" val="France\Europe\Europe\Western Europe\Europe &amp; Central Asia"/>
</p:tagLst>
</file>

<file path=ppt/tags/tag147.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World Bank Region"/>
  <p:tag name="EE4P_MAPWIZARD" val="United Kingdom\Europe\Europe\Northern Europe\Europe &amp; Central Asia"/>
</p:tagLst>
</file>

<file path=ppt/tags/tag148.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World Bank Region"/>
  <p:tag name="EE4P_MAPWIZARD" val="Greece\Europe\Europe\Southern Europe\Europe &amp; Central Asia"/>
</p:tagLst>
</file>

<file path=ppt/tags/tag149.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World Bank Region"/>
  <p:tag name="EE4P_MAPWIZARD" val="Croatia\Europe\Europe\Southern Europe\Europe &amp; Central As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World Bank Region"/>
  <p:tag name="EE4P_MAPWIZARD" val="Hungary\Europe\Europe\Eastern Europe\Europe &amp; Central Asia"/>
</p:tagLst>
</file>

<file path=ppt/tags/tag151.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World Bank Region"/>
  <p:tag name="EE4P_MAPWIZARD" val="Ireland\Europe\Europe\Northern Europe\Europe &amp; Central Asia"/>
</p:tagLst>
</file>

<file path=ppt/tags/tag152.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World Bank Region"/>
  <p:tag name="EE4P_MAPWIZARD" val="Italy\Europe\Europe\Southern Europe\Europe &amp; Central Asia"/>
</p:tagLst>
</file>

<file path=ppt/tags/tag153.xml><?xml version="1.0" encoding="utf-8"?>
<p:tagLst xmlns:a="http://schemas.openxmlformats.org/drawingml/2006/main" xmlns:r="http://schemas.openxmlformats.org/officeDocument/2006/relationships" xmlns:p="http://schemas.openxmlformats.org/presentationml/2006/main">
  <p:tag name="EE4P_MAPWIZARD_HEADINGS" val="Admin 0\Continent\UN Region\UN Sub Region\World Bank Region"/>
  <p:tag name="EE4P_MAPWIZARD_ID" val="SM"/>
  <p:tag name="EE4P_MAPWIZARD" val="San Marino\Europe\Europe\Southern Europe\Europe &amp; Central Asia"/>
</p:tagLst>
</file>

<file path=ppt/tags/tag154.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World Bank Region"/>
  <p:tag name="EE4P_MAPWIZARD" val="Kosovo\Europe\Europe\Southern Europe\Europe &amp; Central Asia"/>
</p:tagLst>
</file>

<file path=ppt/tags/tag155.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Continent\UN Region\UN Sub Region\World Bank Region"/>
  <p:tag name="EE4P_MAPWIZARD" val="Liechtenstein\Europe\Europe\Western Europe\Europe &amp; Central Asia"/>
</p:tagLst>
</file>

<file path=ppt/tags/tag156.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World Bank Region"/>
  <p:tag name="EE4P_MAPWIZARD" val="Lithuania\Europe\Europe\Northern Europe\Europe &amp; Central Asia"/>
</p:tagLst>
</file>

<file path=ppt/tags/tag157.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World Bank Region"/>
  <p:tag name="EE4P_MAPWIZARD" val="Luxembourg\Europe\Europe\Western Europe\Europe &amp; Central Asia"/>
</p:tagLst>
</file>

<file path=ppt/tags/tag158.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World Bank Region"/>
  <p:tag name="EE4P_MAPWIZARD" val="Latvia\Europe\Europe\Northern Europe\Europe &amp; Central Asia"/>
</p:tagLst>
</file>

<file path=ppt/tags/tag159.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Continent\UN Region\UN Sub Region\World Bank Region"/>
  <p:tag name="EE4P_MAPWIZARD" val="Monaco\Europe\Europe\Western Europe\Europe &amp; Central As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World Bank Region"/>
  <p:tag name="EE4P_MAPWIZARD" val="Moldova\Europe\Europe\Eastern Europe\Europe &amp; Central Asia"/>
</p:tagLst>
</file>

<file path=ppt/tags/tag161.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World Bank Region"/>
  <p:tag name="EE4P_MAPWIZARD" val="Macedonia\Europe\Europe\Southern Europe\Europe &amp; Central Asia"/>
</p:tagLst>
</file>

<file path=ppt/tags/tag16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Continent\UN Region\UN Sub Region\World Bank Region"/>
  <p:tag name="EE4P_MAPWIZARD" val="Malta\Europe\Europe\Southern Europe\Middle East &amp; North Africa"/>
</p:tagLst>
</file>

<file path=ppt/tags/tag163.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Continent\UN Region\UN Sub Region\World Bank Region"/>
  <p:tag name="EE4P_MAPWIZARD" val="Malta\Europe\Europe\Southern Europe\Middle East &amp; North Africa"/>
</p:tagLst>
</file>

<file path=ppt/tags/tag164.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World Bank Region"/>
  <p:tag name="EE4P_MAPWIZARD" val="Montenegro\Europe\Europe\Southern Europe\Europe &amp; Central Asia"/>
</p:tagLst>
</file>

<file path=ppt/tags/tag165.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World Bank Region"/>
  <p:tag name="EE4P_MAPWIZARD" val="Netherlands\Europe\Europe\Western Europe\Europe &amp; Central Asia"/>
</p:tagLst>
</file>

<file path=ppt/tags/tag16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World Bank Region"/>
  <p:tag name="EE4P_MAPWIZARD" val="Poland\Europe\Europe\Eastern Europe\Europe &amp; Central Asia"/>
</p:tagLst>
</file>

<file path=ppt/tags/tag16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World Bank Region"/>
  <p:tag name="EE4P_MAPWIZARD" val="Portugal\Europe\Europe\Southern Europe\Europe &amp; Central Asia"/>
</p:tagLst>
</file>

<file path=ppt/tags/tag16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World Bank Region"/>
  <p:tag name="EE4P_MAPWIZARD" val="Romania\Europe\Europe\Eastern Europe\Europe &amp; Central Asia"/>
</p:tagLst>
</file>

<file path=ppt/tags/tag169.xml><?xml version="1.0" encoding="utf-8"?>
<p:tagLst xmlns:a="http://schemas.openxmlformats.org/drawingml/2006/main" xmlns:r="http://schemas.openxmlformats.org/officeDocument/2006/relationships" xmlns:p="http://schemas.openxmlformats.org/presentationml/2006/main">
  <p:tag name="EE4P_MAPWIZARD_HEADINGS" val="Admin 0\Continent\UN Region\UN Sub Region\World Bank Region"/>
  <p:tag name="EE4P_MAPWIZARD_ID" val="IT"/>
  <p:tag name="EE4P_MAPWIZARD" val="Italy\Europe\Europe\Southern Europe\Europe &amp; Central As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World Bank Region"/>
  <p:tag name="EE4P_MAPWIZARD" val="Republic of Serbia\Europe\Europe\Southern Europe\Europe &amp; Central Asia"/>
</p:tagLst>
</file>

<file path=ppt/tags/tag17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World Bank Region"/>
  <p:tag name="EE4P_MAPWIZARD" val="Slovakia\Europe\Europe\Eastern Europe\Europe &amp; Central Asia"/>
</p:tagLst>
</file>

<file path=ppt/tags/tag17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World Bank Region"/>
  <p:tag name="EE4P_MAPWIZARD" val="Slovenia\Europe\Europe\Southern Europe\Europe &amp; Central Asia"/>
</p:tagLst>
</file>

<file path=ppt/tags/tag173.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World Bank Region"/>
  <p:tag name="EE4P_MAPWIZARD" val="Ukraine\Europe\Europe\Eastern Europe\Europe &amp; Central Asia"/>
</p:tagLst>
</file>

<file path=ppt/tags/tag174.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Continent\UN Region\UN Sub Region\World Bank Region"/>
  <p:tag name="EE4P_MAPWIZARD" val="Vatican\Europe\Europe\Southern Europe\Europe &amp; Central Asia"/>
</p:tagLst>
</file>

<file path=ppt/tags/tag175.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World Bank Region"/>
  <p:tag name="EE4P_MAPWIZARD" val="Austria\Europe\Europe\Western Europe\Europe &amp; Central Asi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acx1E9sSj.wwFg_Ga_hR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FqS1PJ01keIQmf7..IR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QGVND6l1kCiNQbmOawY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LTsOxKSxEOKPX1k8x0y7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O5OR8HrpU.KkZHqyf.I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5XG3O5JQEixivAZ1kEP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q.NjdGUp0SeYakMWQKP.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9Qxs2Mp9EqunXv9LaBU0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HQo97ZhRF60u1q7WmAY1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ERBUND 2022 vorläufig!!">
  <a:themeElements>
    <a:clrScheme name="VERBUND 2022 vorläufig">
      <a:dk1>
        <a:srgbClr val="575756"/>
      </a:dk1>
      <a:lt1>
        <a:srgbClr val="FFFFFF"/>
      </a:lt1>
      <a:dk2>
        <a:srgbClr val="00488E"/>
      </a:dk2>
      <a:lt2>
        <a:srgbClr val="EDEDED"/>
      </a:lt2>
      <a:accent1>
        <a:srgbClr val="575757"/>
      </a:accent1>
      <a:accent2>
        <a:srgbClr val="999999"/>
      </a:accent2>
      <a:accent3>
        <a:srgbClr val="CCCCCC"/>
      </a:accent3>
      <a:accent4>
        <a:srgbClr val="575757"/>
      </a:accent4>
      <a:accent5>
        <a:srgbClr val="999999"/>
      </a:accent5>
      <a:accent6>
        <a:srgbClr val="00336A"/>
      </a:accent6>
      <a:hlink>
        <a:srgbClr val="575756"/>
      </a:hlink>
      <a:folHlink>
        <a:srgbClr val="00488E"/>
      </a:folHlink>
    </a:clrScheme>
    <a:fontScheme name="VERBUND 2022">
      <a:majorFont>
        <a:latin typeface="Georgia"/>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solidFill>
            <a:schemeClr val="bg2"/>
          </a:solidFill>
          <a:prstDash val="solid"/>
          <a:round/>
          <a:headEnd type="none" w="med" len="med"/>
          <a:tailEnd type="none" w="med" len="med"/>
        </a:ln>
        <a:effectLst/>
      </a:spPr>
      <a:bodyPr vert="horz" wrap="square" lIns="180000" tIns="180000" rIns="180000" bIns="1800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b="0" i="0" u="none" strike="noStrike" cap="none" normalizeH="0" baseline="0" dirty="0" err="1"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AT" sz="1600" b="0" i="0" u="none" strike="noStrike" cap="none" normalizeH="0" baseline="0" smtClean="0">
            <a:ln>
              <a:noFill/>
            </a:ln>
            <a:solidFill>
              <a:schemeClr val="tx1"/>
            </a:solidFill>
            <a:effectLst/>
            <a:latin typeface="Arial" charset="0"/>
            <a:ea typeface="MS PGothic" pitchFamily="34" charset="-128"/>
          </a:defRPr>
        </a:defPPr>
      </a:lstStyle>
    </a:lnDef>
    <a:txDef>
      <a:spPr>
        <a:noFill/>
      </a:spPr>
      <a:bodyPr wrap="none" lIns="0" tIns="0" rIns="0" bIns="0" rtlCol="0">
        <a:spAutoFit/>
      </a:bodyPr>
      <a:lstStyle>
        <a:defPPr algn="l">
          <a:lnSpc>
            <a:spcPct val="110000"/>
          </a:lnSpc>
          <a:defRPr dirty="0" err="1" smtClean="0"/>
        </a:defPPr>
      </a:lstStyle>
    </a:txDef>
  </a:objectDefaults>
  <a:extraClrSchemeLst/>
  <a:extLst>
    <a:ext uri="{05A4C25C-085E-4340-85A3-A5531E510DB2}">
      <thm15:themeFamily xmlns:thm15="http://schemas.microsoft.com/office/thememl/2012/main" name="VERBUND Corporate Report-2022_final.pptx" id="{9D025A3F-58CD-4C83-B5CF-BB322B74286D}" vid="{BCA7E92B-D336-405B-924D-E3AE5B1EB33F}"/>
    </a:ext>
  </a:extLst>
</a:theme>
</file>

<file path=ppt/theme/theme2.xml><?xml version="1.0" encoding="utf-8"?>
<a:theme xmlns:a="http://schemas.openxmlformats.org/drawingml/2006/main" name="1_VERBUND 2022 vorläufig!!">
  <a:themeElements>
    <a:clrScheme name="VERBUND 2022 vorläufig">
      <a:dk1>
        <a:srgbClr val="575756"/>
      </a:dk1>
      <a:lt1>
        <a:srgbClr val="FFFFFF"/>
      </a:lt1>
      <a:dk2>
        <a:srgbClr val="00488E"/>
      </a:dk2>
      <a:lt2>
        <a:srgbClr val="EDEDED"/>
      </a:lt2>
      <a:accent1>
        <a:srgbClr val="575757"/>
      </a:accent1>
      <a:accent2>
        <a:srgbClr val="999999"/>
      </a:accent2>
      <a:accent3>
        <a:srgbClr val="CCCCCC"/>
      </a:accent3>
      <a:accent4>
        <a:srgbClr val="575757"/>
      </a:accent4>
      <a:accent5>
        <a:srgbClr val="999999"/>
      </a:accent5>
      <a:accent6>
        <a:srgbClr val="00336A"/>
      </a:accent6>
      <a:hlink>
        <a:srgbClr val="CCCCCC"/>
      </a:hlink>
      <a:folHlink>
        <a:srgbClr val="00488E"/>
      </a:folHlink>
    </a:clrScheme>
    <a:fontScheme name="VERBUND 2022">
      <a:majorFont>
        <a:latin typeface="Georgia"/>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solidFill>
            <a:schemeClr val="bg2"/>
          </a:solidFill>
          <a:prstDash val="solid"/>
          <a:round/>
          <a:headEnd type="none" w="med" len="med"/>
          <a:tailEnd type="none" w="med" len="med"/>
        </a:ln>
        <a:effectLst/>
      </a:spPr>
      <a:bodyPr vert="horz" wrap="square" lIns="180000" tIns="180000" rIns="180000" bIns="1800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b="0" i="0" u="none" strike="noStrike" cap="none" normalizeH="0" baseline="0" dirty="0" err="1"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AT" sz="1600" b="0" i="0" u="none" strike="noStrike" cap="none" normalizeH="0" baseline="0" smtClean="0">
            <a:ln>
              <a:noFill/>
            </a:ln>
            <a:solidFill>
              <a:schemeClr val="tx1"/>
            </a:solidFill>
            <a:effectLst/>
            <a:latin typeface="Arial" charset="0"/>
            <a:ea typeface="MS PGothic" pitchFamily="34" charset="-128"/>
          </a:defRPr>
        </a:defPPr>
      </a:lstStyle>
    </a:lnDef>
    <a:txDef>
      <a:spPr>
        <a:noFill/>
      </a:spPr>
      <a:bodyPr wrap="none" lIns="0" tIns="0" rIns="0" bIns="0" rtlCol="0">
        <a:spAutoFit/>
      </a:bodyPr>
      <a:lstStyle>
        <a:defPPr algn="l">
          <a:lnSpc>
            <a:spcPct val="110000"/>
          </a:lnSpc>
          <a:defRPr dirty="0" err="1" smtClean="0"/>
        </a:defPPr>
      </a:lstStyle>
    </a:txDef>
  </a:objectDefaults>
  <a:extraClrSchemeLst/>
  <a:extLst>
    <a:ext uri="{05A4C25C-085E-4340-85A3-A5531E510DB2}">
      <thm15:themeFamily xmlns:thm15="http://schemas.microsoft.com/office/thememl/2012/main" name="VERBUND Corporate Report-2022_final.pptx" id="{9D025A3F-58CD-4C83-B5CF-BB322B74286D}" vid="{CA8DB15F-8F60-47A6-B940-C1135A494E22}"/>
    </a:ext>
  </a:extLst>
</a:theme>
</file>

<file path=ppt/theme/theme3.xml><?xml version="1.0" encoding="utf-8"?>
<a:theme xmlns:a="http://schemas.openxmlformats.org/drawingml/2006/main" name="2_VERBUND 2022 vorläufig!!">
  <a:themeElements>
    <a:clrScheme name="VERBUND 2022 vorläufig">
      <a:dk1>
        <a:srgbClr val="575756"/>
      </a:dk1>
      <a:lt1>
        <a:srgbClr val="FFFFFF"/>
      </a:lt1>
      <a:dk2>
        <a:srgbClr val="00488E"/>
      </a:dk2>
      <a:lt2>
        <a:srgbClr val="EDEDED"/>
      </a:lt2>
      <a:accent1>
        <a:srgbClr val="575757"/>
      </a:accent1>
      <a:accent2>
        <a:srgbClr val="999999"/>
      </a:accent2>
      <a:accent3>
        <a:srgbClr val="CCCCCC"/>
      </a:accent3>
      <a:accent4>
        <a:srgbClr val="575757"/>
      </a:accent4>
      <a:accent5>
        <a:srgbClr val="999999"/>
      </a:accent5>
      <a:accent6>
        <a:srgbClr val="00336A"/>
      </a:accent6>
      <a:hlink>
        <a:srgbClr val="575756"/>
      </a:hlink>
      <a:folHlink>
        <a:srgbClr val="00488E"/>
      </a:folHlink>
    </a:clrScheme>
    <a:fontScheme name="VERBUND 2022">
      <a:majorFont>
        <a:latin typeface="Georgia"/>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solidFill>
            <a:schemeClr val="bg2"/>
          </a:solidFill>
          <a:prstDash val="solid"/>
          <a:round/>
          <a:headEnd type="none" w="med" len="med"/>
          <a:tailEnd type="none" w="med" len="med"/>
        </a:ln>
        <a:effectLst/>
      </a:spPr>
      <a:bodyPr vert="horz" wrap="square" lIns="180000" tIns="180000" rIns="180000" bIns="1800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b="0" i="0" u="none" strike="noStrike" cap="none" normalizeH="0" baseline="0" dirty="0" err="1" smtClean="0">
            <a:ln>
              <a:noFill/>
            </a:ln>
            <a:solidFill>
              <a:schemeClr val="tx1"/>
            </a:solidFill>
            <a:effectLst/>
            <a:latin typeface="Arial" charset="0"/>
            <a:ea typeface="MS PGothic" pitchFamily="34" charset="-128"/>
          </a:defRPr>
        </a:defPPr>
      </a:lstStyle>
    </a:spDef>
    <a:lnDef>
      <a:spPr bwMode="auto">
        <a:xfrm>
          <a:off x="0" y="0"/>
          <a:ext cx="1" cy="1"/>
        </a:xfrm>
        <a:custGeom>
          <a:avLst/>
          <a:gdLst/>
          <a:ahLst/>
          <a:cxnLst/>
          <a:rect l="0" t="0" r="0" b="0"/>
          <a:pathLst/>
        </a:custGeom>
        <a:solidFill>
          <a:srgbClr val="4AADB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AT" sz="1600" b="0" i="0" u="none" strike="noStrike" cap="none" normalizeH="0" baseline="0" smtClean="0">
            <a:ln>
              <a:noFill/>
            </a:ln>
            <a:solidFill>
              <a:schemeClr val="tx1"/>
            </a:solidFill>
            <a:effectLst/>
            <a:latin typeface="Arial" charset="0"/>
            <a:ea typeface="MS PGothic" pitchFamily="34" charset="-128"/>
          </a:defRPr>
        </a:defPPr>
      </a:lstStyle>
    </a:lnDef>
    <a:txDef>
      <a:spPr>
        <a:noFill/>
      </a:spPr>
      <a:bodyPr wrap="none" lIns="0" tIns="0" rIns="0" bIns="0" rtlCol="0">
        <a:spAutoFit/>
      </a:bodyPr>
      <a:lstStyle>
        <a:defPPr algn="l">
          <a:lnSpc>
            <a:spcPct val="110000"/>
          </a:lnSpc>
          <a:defRPr dirty="0" err="1" smtClean="0"/>
        </a:defPPr>
      </a:lstStyle>
    </a:txDef>
  </a:objectDefaults>
  <a:extraClrSchemeLst/>
  <a:extLst>
    <a:ext uri="{05A4C25C-085E-4340-85A3-A5531E510DB2}">
      <thm15:themeFamily xmlns:thm15="http://schemas.microsoft.com/office/thememl/2012/main" name="VERBUND Corporate Report-2022_final.pptx" id="{9D025A3F-58CD-4C83-B5CF-BB322B74286D}" vid="{5F9BCB4C-0B94-4BFB-BF26-F17DFFCA9E73}"/>
    </a:ext>
  </a:extLst>
</a:theme>
</file>

<file path=ppt/theme/theme4.xml><?xml version="1.0" encoding="utf-8"?>
<a:theme xmlns:a="http://schemas.openxmlformats.org/drawingml/2006/main" name="VERBUND 2022">
  <a:themeElements>
    <a:clrScheme name="VERBUND 2022">
      <a:dk1>
        <a:srgbClr val="575756"/>
      </a:dk1>
      <a:lt1>
        <a:srgbClr val="FFFFFF"/>
      </a:lt1>
      <a:dk2>
        <a:srgbClr val="00488E"/>
      </a:dk2>
      <a:lt2>
        <a:srgbClr val="EDEDED"/>
      </a:lt2>
      <a:accent1>
        <a:srgbClr val="575757"/>
      </a:accent1>
      <a:accent2>
        <a:srgbClr val="999999"/>
      </a:accent2>
      <a:accent3>
        <a:srgbClr val="CCCCCC"/>
      </a:accent3>
      <a:accent4>
        <a:srgbClr val="575757"/>
      </a:accent4>
      <a:accent5>
        <a:srgbClr val="999999"/>
      </a:accent5>
      <a:accent6>
        <a:srgbClr val="00336A"/>
      </a:accent6>
      <a:hlink>
        <a:srgbClr val="575757"/>
      </a:hlink>
      <a:folHlink>
        <a:srgbClr val="999999"/>
      </a:folHlink>
    </a:clrScheme>
    <a:fontScheme name="VERBUND 2022">
      <a:majorFont>
        <a:latin typeface="Georgia"/>
        <a:ea typeface="MS PGothic"/>
        <a:cs typeface=""/>
      </a:majorFont>
      <a:minorFont>
        <a:latin typeface="Arial"/>
        <a:ea typeface="MS PGothic"/>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9525" cap="flat" cmpd="sng" algn="ctr">
          <a:solidFill>
            <a:schemeClr val="accent2"/>
          </a:solidFill>
          <a:prstDash val="solid"/>
          <a:round/>
          <a:headEnd type="none" w="med" len="med"/>
          <a:tailEnd type="none" w="med" len="med"/>
        </a:ln>
        <a:effectLst/>
      </a:spPr>
      <a:bodyPr vert="horz" wrap="square" lIns="180000" tIns="180000" rIns="180000" bIns="1800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b="0" i="0" u="none" strike="noStrike" cap="none" normalizeH="0" baseline="0" dirty="0" err="1" smtClean="0">
            <a:ln>
              <a:noFill/>
            </a:ln>
            <a:solidFill>
              <a:schemeClr val="bg1"/>
            </a:solidFill>
            <a:effectLst/>
            <a:latin typeface="Arial" charset="0"/>
            <a:ea typeface="MS PGothic" pitchFamily="34" charset="-128"/>
          </a:defRPr>
        </a:defPPr>
      </a:lstStyle>
    </a:spDef>
    <a:lnDef>
      <a:spPr bwMode="auto">
        <a:solidFill>
          <a:srgbClr val="4AADBB"/>
        </a:solidFill>
        <a:ln w="9525"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Präsentation2" id="{DE62918D-C522-474F-8D02-0F358ECCC0BC}" vid="{0CAA109B-2B3D-49DC-8993-B15991462AEB}"/>
    </a:ext>
  </a:ext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VERBUND 2022 vorläufig">
    <a:dk1>
      <a:srgbClr val="575756"/>
    </a:dk1>
    <a:lt1>
      <a:srgbClr val="FFFFFF"/>
    </a:lt1>
    <a:dk2>
      <a:srgbClr val="00488E"/>
    </a:dk2>
    <a:lt2>
      <a:srgbClr val="EDEDED"/>
    </a:lt2>
    <a:accent1>
      <a:srgbClr val="575757"/>
    </a:accent1>
    <a:accent2>
      <a:srgbClr val="999999"/>
    </a:accent2>
    <a:accent3>
      <a:srgbClr val="CCCCCC"/>
    </a:accent3>
    <a:accent4>
      <a:srgbClr val="575757"/>
    </a:accent4>
    <a:accent5>
      <a:srgbClr val="999999"/>
    </a:accent5>
    <a:accent6>
      <a:srgbClr val="00336A"/>
    </a:accent6>
    <a:hlink>
      <a:srgbClr val="CCCCCC"/>
    </a:hlink>
    <a:folHlink>
      <a:srgbClr val="00488E"/>
    </a:folHlink>
  </a:clrScheme>
</a:themeOverride>
</file>

<file path=ppt/theme/themeOverride2.xml><?xml version="1.0" encoding="utf-8"?>
<a:themeOverride xmlns:a="http://schemas.openxmlformats.org/drawingml/2006/main">
  <a:clrScheme name="VERBUND 2022 vorläufig">
    <a:dk1>
      <a:srgbClr val="575756"/>
    </a:dk1>
    <a:lt1>
      <a:srgbClr val="FFFFFF"/>
    </a:lt1>
    <a:dk2>
      <a:srgbClr val="00488E"/>
    </a:dk2>
    <a:lt2>
      <a:srgbClr val="EDEDED"/>
    </a:lt2>
    <a:accent1>
      <a:srgbClr val="575757"/>
    </a:accent1>
    <a:accent2>
      <a:srgbClr val="999999"/>
    </a:accent2>
    <a:accent3>
      <a:srgbClr val="CCCCCC"/>
    </a:accent3>
    <a:accent4>
      <a:srgbClr val="575757"/>
    </a:accent4>
    <a:accent5>
      <a:srgbClr val="999999"/>
    </a:accent5>
    <a:accent6>
      <a:srgbClr val="00336A"/>
    </a:accent6>
    <a:hlink>
      <a:srgbClr val="CCCCCC"/>
    </a:hlink>
    <a:folHlink>
      <a:srgbClr val="00488E"/>
    </a:folHlink>
  </a:clrScheme>
</a:themeOverride>
</file>

<file path=ppt/theme/themeOverride3.xml><?xml version="1.0" encoding="utf-8"?>
<a:themeOverride xmlns:a="http://schemas.openxmlformats.org/drawingml/2006/main">
  <a:clrScheme name="VERBUND 2022 vorläufig">
    <a:dk1>
      <a:srgbClr val="575756"/>
    </a:dk1>
    <a:lt1>
      <a:srgbClr val="FFFFFF"/>
    </a:lt1>
    <a:dk2>
      <a:srgbClr val="00488E"/>
    </a:dk2>
    <a:lt2>
      <a:srgbClr val="EDEDED"/>
    </a:lt2>
    <a:accent1>
      <a:srgbClr val="575757"/>
    </a:accent1>
    <a:accent2>
      <a:srgbClr val="999999"/>
    </a:accent2>
    <a:accent3>
      <a:srgbClr val="CCCCCC"/>
    </a:accent3>
    <a:accent4>
      <a:srgbClr val="575757"/>
    </a:accent4>
    <a:accent5>
      <a:srgbClr val="999999"/>
    </a:accent5>
    <a:accent6>
      <a:srgbClr val="00336A"/>
    </a:accent6>
    <a:hlink>
      <a:srgbClr val="CCCCCC"/>
    </a:hlink>
    <a:folHlink>
      <a:srgbClr val="00488E"/>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D1ADA900D8FB342B44BF4D3F643B473" ma:contentTypeVersion="5" ma:contentTypeDescription="Ein neues Dokument erstellen." ma:contentTypeScope="" ma:versionID="2e02b7c1d72a8b13de7d5661ffcff0b8">
  <xsd:schema xmlns:xsd="http://www.w3.org/2001/XMLSchema" xmlns:xs="http://www.w3.org/2001/XMLSchema" xmlns:p="http://schemas.microsoft.com/office/2006/metadata/properties" xmlns:ns1="http://schemas.microsoft.com/sharepoint/v3" xmlns:ns2="23d23016-fe64-45a3-9bca-00966b329f21" xmlns:ns3="058c0d43-c2e6-4cd6-94cd-8cf6e4221e41" targetNamespace="http://schemas.microsoft.com/office/2006/metadata/properties" ma:root="true" ma:fieldsID="f29a27700ac4bf7303ae509374be8dae" ns1:_="" ns2:_="" ns3:_="">
    <xsd:import namespace="http://schemas.microsoft.com/sharepoint/v3"/>
    <xsd:import namespace="23d23016-fe64-45a3-9bca-00966b329f21"/>
    <xsd:import namespace="058c0d43-c2e6-4cd6-94cd-8cf6e4221e41"/>
    <xsd:element name="properties">
      <xsd:complexType>
        <xsd:sequence>
          <xsd:element name="documentManagement">
            <xsd:complexType>
              <xsd:all>
                <xsd:element ref="ns2:_dlc_DocId" minOccurs="0"/>
                <xsd:element ref="ns2:_dlc_DocIdUrl" minOccurs="0"/>
                <xsd:element ref="ns2:_dlc_DocIdPersistId" minOccurs="0"/>
                <xsd:element ref="ns1:PublishingStartDate" minOccurs="0"/>
                <xsd:element ref="ns1:PublishingExpirationDat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12"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d23016-fe64-45a3-9bca-00966b329f21"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58c0d43-c2e6-4cd6-94cd-8cf6e4221e41" elementFormDefault="qualified">
    <xsd:import namespace="http://schemas.microsoft.com/office/2006/documentManagement/types"/>
    <xsd:import namespace="http://schemas.microsoft.com/office/infopath/2007/PartnerControls"/>
    <xsd:element name="SharedWithUsers" ma:index="13"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9EA3A025-4D94-4AB0-BD42-C20F680126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d23016-fe64-45a3-9bca-00966b329f21"/>
    <ds:schemaRef ds:uri="058c0d43-c2e6-4cd6-94cd-8cf6e4221e4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94D228-AF0D-47CE-B265-894F269E93A6}">
  <ds:schemaRefs>
    <ds:schemaRef ds:uri="http://schemas.microsoft.com/sharepoint/events"/>
  </ds:schemaRefs>
</ds:datastoreItem>
</file>

<file path=customXml/itemProps3.xml><?xml version="1.0" encoding="utf-8"?>
<ds:datastoreItem xmlns:ds="http://schemas.openxmlformats.org/officeDocument/2006/customXml" ds:itemID="{6A58A6D2-9D68-428C-8E0D-A6BA9E2BFEED}">
  <ds:schemaRefs>
    <ds:schemaRef ds:uri="http://schemas.microsoft.com/sharepoint/v3/contenttype/forms"/>
  </ds:schemaRefs>
</ds:datastoreItem>
</file>

<file path=customXml/itemProps4.xml><?xml version="1.0" encoding="utf-8"?>
<ds:datastoreItem xmlns:ds="http://schemas.openxmlformats.org/officeDocument/2006/customXml" ds:itemID="{5CEDEE80-137D-4107-BEB0-D877F8412D7F}">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VERBUND_Unternehmenspraesentation_EN_Web</Template>
  <TotalTime>0</TotalTime>
  <Words>1304</Words>
  <Application>Microsoft Office PowerPoint</Application>
  <PresentationFormat>Breitbild</PresentationFormat>
  <Paragraphs>156</Paragraphs>
  <Slides>13</Slides>
  <Notes>2</Notes>
  <HiddenSlides>0</HiddenSlides>
  <MMClips>0</MMClips>
  <ScaleCrop>false</ScaleCrop>
  <HeadingPairs>
    <vt:vector size="8" baseType="variant">
      <vt:variant>
        <vt:lpstr>Verwendete Schriftarten</vt:lpstr>
      </vt:variant>
      <vt:variant>
        <vt:i4>5</vt:i4>
      </vt:variant>
      <vt:variant>
        <vt:lpstr>Design</vt:lpstr>
      </vt:variant>
      <vt:variant>
        <vt:i4>4</vt:i4>
      </vt:variant>
      <vt:variant>
        <vt:lpstr>Eingebettete OLE-Server</vt:lpstr>
      </vt:variant>
      <vt:variant>
        <vt:i4>1</vt:i4>
      </vt:variant>
      <vt:variant>
        <vt:lpstr>Folientitel</vt:lpstr>
      </vt:variant>
      <vt:variant>
        <vt:i4>13</vt:i4>
      </vt:variant>
    </vt:vector>
  </HeadingPairs>
  <TitlesOfParts>
    <vt:vector size="23" baseType="lpstr">
      <vt:lpstr>Arial</vt:lpstr>
      <vt:lpstr>Calibri</vt:lpstr>
      <vt:lpstr>Georgia</vt:lpstr>
      <vt:lpstr>Univers</vt:lpstr>
      <vt:lpstr>Wingdings</vt:lpstr>
      <vt:lpstr>VERBUND 2022 vorläufig!!</vt:lpstr>
      <vt:lpstr>1_VERBUND 2022 vorläufig!!</vt:lpstr>
      <vt:lpstr>2_VERBUND 2022 vorläufig!!</vt:lpstr>
      <vt:lpstr>VERBUND 2022</vt:lpstr>
      <vt:lpstr>think-cell Folie</vt:lpstr>
      <vt:lpstr> Hydropower EUSDR - National Participation Day Panel 3: Energy &amp; Transport </vt:lpstr>
      <vt:lpstr>VERBUND at a glance</vt:lpstr>
      <vt:lpstr>Hydropower in Europe – actual Status 
 </vt:lpstr>
      <vt:lpstr>Hydro Power in Danube River Basin (Source: ICDPR)</vt:lpstr>
      <vt:lpstr>Multipurpose Use of Hydropower  
 </vt:lpstr>
      <vt:lpstr>Climate Neutrality: projected Development of Renewables 
 </vt:lpstr>
      <vt:lpstr>Climate Neutrality: Need for Systemic Approach 
 </vt:lpstr>
      <vt:lpstr>Current Hydropower Projects of VERBUND</vt:lpstr>
      <vt:lpstr>Case Example: Limberg III Pumped Storage Power Plant</vt:lpstr>
      <vt:lpstr>Ecology, Water Framework Directive and Biodiversity</vt:lpstr>
      <vt:lpstr>Success Story Life Projects</vt:lpstr>
      <vt:lpstr>Summary</vt:lpstr>
      <vt:lpstr>The power of transi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BUND Corporate Report</dc:title>
  <dc:creator>Harreiter Herfried</dc:creator>
  <cp:lastModifiedBy>Harreiter Herfried</cp:lastModifiedBy>
  <cp:revision>46</cp:revision>
  <cp:lastPrinted>2022-03-13T18:39:56Z</cp:lastPrinted>
  <dcterms:created xsi:type="dcterms:W3CDTF">2023-03-17T13:19:15Z</dcterms:created>
  <dcterms:modified xsi:type="dcterms:W3CDTF">2024-03-27T17:3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D1ADA900D8FB342B44BF4D3F643B473</vt:lpwstr>
  </property>
</Properties>
</file>